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5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1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28"/>
  </p:notesMasterIdLst>
  <p:sldIdLst>
    <p:sldId id="256" r:id="rId2"/>
    <p:sldId id="283" r:id="rId3"/>
    <p:sldId id="272" r:id="rId4"/>
    <p:sldId id="298" r:id="rId5"/>
    <p:sldId id="297" r:id="rId6"/>
    <p:sldId id="259" r:id="rId7"/>
    <p:sldId id="276" r:id="rId8"/>
    <p:sldId id="280" r:id="rId9"/>
    <p:sldId id="263" r:id="rId10"/>
    <p:sldId id="281" r:id="rId11"/>
    <p:sldId id="301" r:id="rId12"/>
    <p:sldId id="265" r:id="rId13"/>
    <p:sldId id="299" r:id="rId14"/>
    <p:sldId id="268" r:id="rId15"/>
    <p:sldId id="270" r:id="rId16"/>
    <p:sldId id="271" r:id="rId17"/>
    <p:sldId id="300" r:id="rId18"/>
    <p:sldId id="290" r:id="rId19"/>
    <p:sldId id="289" r:id="rId20"/>
    <p:sldId id="294" r:id="rId21"/>
    <p:sldId id="286" r:id="rId22"/>
    <p:sldId id="287" r:id="rId23"/>
    <p:sldId id="288" r:id="rId24"/>
    <p:sldId id="303" r:id="rId25"/>
    <p:sldId id="277" r:id="rId26"/>
    <p:sldId id="304" r:id="rId27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494BA"/>
    <a:srgbClr val="CEDBE7"/>
    <a:srgbClr val="EC808C"/>
    <a:srgbClr val="FF0000"/>
    <a:srgbClr val="F6CBCD"/>
    <a:srgbClr val="FFFBEE"/>
    <a:srgbClr val="DAEBD3"/>
    <a:srgbClr val="DAD3EA"/>
    <a:srgbClr val="123A4D"/>
    <a:srgbClr val="FDE5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574"/>
    <p:restoredTop sz="85745"/>
  </p:normalViewPr>
  <p:slideViewPr>
    <p:cSldViewPr snapToGrid="0">
      <p:cViewPr varScale="1">
        <p:scale>
          <a:sx n="97" d="100"/>
          <a:sy n="97" d="100"/>
        </p:scale>
        <p:origin x="191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AA711CF-C105-47D8-807D-7AB944337CE9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969FB75-6F40-4C8E-BABB-659DC4A92074}">
      <dgm:prSet custT="1"/>
      <dgm:spPr/>
      <dgm:t>
        <a:bodyPr/>
        <a:lstStyle/>
        <a:p>
          <a:r>
            <a:rPr lang="en-US" sz="2000" b="1" dirty="0"/>
            <a:t>Motivation:</a:t>
          </a:r>
          <a:endParaRPr lang="en-US" sz="2000" dirty="0"/>
        </a:p>
      </dgm:t>
    </dgm:pt>
    <dgm:pt modelId="{7F6D3CCE-1265-45AE-809D-DF7AE197F92A}" type="parTrans" cxnId="{B971ABE6-10EC-492D-9C97-7733C1D4E518}">
      <dgm:prSet/>
      <dgm:spPr/>
      <dgm:t>
        <a:bodyPr/>
        <a:lstStyle/>
        <a:p>
          <a:endParaRPr lang="en-US"/>
        </a:p>
      </dgm:t>
    </dgm:pt>
    <dgm:pt modelId="{5017F004-937A-45FB-AD37-FFFEAE1286C0}" type="sibTrans" cxnId="{B971ABE6-10EC-492D-9C97-7733C1D4E518}">
      <dgm:prSet/>
      <dgm:spPr/>
      <dgm:t>
        <a:bodyPr/>
        <a:lstStyle/>
        <a:p>
          <a:endParaRPr lang="en-US"/>
        </a:p>
      </dgm:t>
    </dgm:pt>
    <dgm:pt modelId="{677467B3-0545-46CB-A4B1-AB29835C3E92}">
      <dgm:prSet custT="1"/>
      <dgm:spPr/>
      <dgm:t>
        <a:bodyPr/>
        <a:lstStyle/>
        <a:p>
          <a:pPr>
            <a:lnSpc>
              <a:spcPct val="150000"/>
            </a:lnSpc>
            <a:buNone/>
          </a:pPr>
          <a:r>
            <a:rPr lang="en-US" sz="2000" dirty="0"/>
            <a:t>Is self-attention necessary?</a:t>
          </a:r>
        </a:p>
      </dgm:t>
    </dgm:pt>
    <dgm:pt modelId="{47249DA2-6768-4549-A0C9-287963FC1BF2}" type="parTrans" cxnId="{3BBDAF4B-EB88-4E90-91B5-CF817958D2B4}">
      <dgm:prSet/>
      <dgm:spPr/>
      <dgm:t>
        <a:bodyPr/>
        <a:lstStyle/>
        <a:p>
          <a:endParaRPr lang="en-US"/>
        </a:p>
      </dgm:t>
    </dgm:pt>
    <dgm:pt modelId="{7B4EF3CD-0595-4E13-B5D6-56DE13E45D27}" type="sibTrans" cxnId="{3BBDAF4B-EB88-4E90-91B5-CF817958D2B4}">
      <dgm:prSet/>
      <dgm:spPr/>
      <dgm:t>
        <a:bodyPr/>
        <a:lstStyle/>
        <a:p>
          <a:endParaRPr lang="en-US"/>
        </a:p>
      </dgm:t>
    </dgm:pt>
    <dgm:pt modelId="{1CA06E86-E1AC-420D-A1CA-852783100AA7}">
      <dgm:prSet custT="1"/>
      <dgm:spPr/>
      <dgm:t>
        <a:bodyPr/>
        <a:lstStyle/>
        <a:p>
          <a:pPr>
            <a:lnSpc>
              <a:spcPct val="150000"/>
            </a:lnSpc>
            <a:buNone/>
          </a:pPr>
          <a:r>
            <a:rPr lang="en-US" sz="2000" dirty="0"/>
            <a:t>⇒ Gated multi layer perceptron (</a:t>
          </a:r>
          <a:r>
            <a:rPr lang="en-US" sz="2000" dirty="0" err="1"/>
            <a:t>gMLP</a:t>
          </a:r>
          <a:r>
            <a:rPr lang="en-US" sz="2000" dirty="0"/>
            <a:t>) </a:t>
          </a:r>
        </a:p>
      </dgm:t>
    </dgm:pt>
    <dgm:pt modelId="{5A1214F5-6B55-4142-871E-11A6311854E8}" type="parTrans" cxnId="{27A079B6-A526-46BC-A2A8-DB1B6A19E62C}">
      <dgm:prSet/>
      <dgm:spPr/>
      <dgm:t>
        <a:bodyPr/>
        <a:lstStyle/>
        <a:p>
          <a:endParaRPr lang="en-US"/>
        </a:p>
      </dgm:t>
    </dgm:pt>
    <dgm:pt modelId="{2A2D5063-2793-448B-B038-B7740DD68F13}" type="sibTrans" cxnId="{27A079B6-A526-46BC-A2A8-DB1B6A19E62C}">
      <dgm:prSet/>
      <dgm:spPr/>
      <dgm:t>
        <a:bodyPr/>
        <a:lstStyle/>
        <a:p>
          <a:endParaRPr lang="en-US"/>
        </a:p>
      </dgm:t>
    </dgm:pt>
    <dgm:pt modelId="{33666672-0834-427A-911B-A15F8A130725}">
      <dgm:prSet custT="1"/>
      <dgm:spPr>
        <a:noFill/>
        <a:ln>
          <a:noFill/>
        </a:ln>
      </dgm:spPr>
      <dgm:t>
        <a:bodyPr/>
        <a:lstStyle/>
        <a:p>
          <a:r>
            <a:rPr lang="en-US" sz="2000" b="1" dirty="0">
              <a:solidFill>
                <a:schemeClr val="bg1"/>
              </a:solidFill>
            </a:rPr>
            <a:t>Experiments:</a:t>
          </a:r>
          <a:endParaRPr lang="en-US" sz="2000" dirty="0">
            <a:solidFill>
              <a:schemeClr val="bg1"/>
            </a:solidFill>
          </a:endParaRPr>
        </a:p>
      </dgm:t>
    </dgm:pt>
    <dgm:pt modelId="{EEB652D0-F218-4A96-B31C-531F30A11E15}" type="parTrans" cxnId="{2949736C-1F41-4DE4-BBEC-2BD8E53C631E}">
      <dgm:prSet/>
      <dgm:spPr/>
      <dgm:t>
        <a:bodyPr/>
        <a:lstStyle/>
        <a:p>
          <a:endParaRPr lang="en-US"/>
        </a:p>
      </dgm:t>
    </dgm:pt>
    <dgm:pt modelId="{D6AA1194-8850-4154-BE77-4C35A16C75FA}" type="sibTrans" cxnId="{2949736C-1F41-4DE4-BBEC-2BD8E53C631E}">
      <dgm:prSet/>
      <dgm:spPr/>
      <dgm:t>
        <a:bodyPr/>
        <a:lstStyle/>
        <a:p>
          <a:endParaRPr lang="en-US"/>
        </a:p>
      </dgm:t>
    </dgm:pt>
    <dgm:pt modelId="{51F5984C-6AA0-4A2D-B809-EB4E8940D700}">
      <dgm:prSet custT="1"/>
      <dgm:spPr>
        <a:ln>
          <a:noFill/>
        </a:ln>
      </dgm:spPr>
      <dgm:t>
        <a:bodyPr/>
        <a:lstStyle/>
        <a:p>
          <a:pPr>
            <a:lnSpc>
              <a:spcPct val="150000"/>
            </a:lnSpc>
            <a:buNone/>
          </a:pPr>
          <a:r>
            <a:rPr lang="en-US" sz="2000" b="0" i="0" dirty="0">
              <a:solidFill>
                <a:schemeClr val="bg1"/>
              </a:solidFill>
            </a:rPr>
            <a:t>Image Classification</a:t>
          </a:r>
        </a:p>
      </dgm:t>
    </dgm:pt>
    <dgm:pt modelId="{4B802026-C5E1-4709-BEAC-0707ED58F4B0}" type="parTrans" cxnId="{5ECAB0E9-600D-4A8A-8B4C-C6938AB5C33A}">
      <dgm:prSet/>
      <dgm:spPr/>
      <dgm:t>
        <a:bodyPr/>
        <a:lstStyle/>
        <a:p>
          <a:endParaRPr lang="en-US"/>
        </a:p>
      </dgm:t>
    </dgm:pt>
    <dgm:pt modelId="{A41D99B2-4FE3-4164-A6E9-5347D8D9B920}" type="sibTrans" cxnId="{5ECAB0E9-600D-4A8A-8B4C-C6938AB5C33A}">
      <dgm:prSet/>
      <dgm:spPr/>
      <dgm:t>
        <a:bodyPr/>
        <a:lstStyle/>
        <a:p>
          <a:endParaRPr lang="en-US"/>
        </a:p>
      </dgm:t>
    </dgm:pt>
    <dgm:pt modelId="{22C9EFDA-BD71-554C-BFC5-7EDAA1C59B8F}">
      <dgm:prSet custT="1"/>
      <dgm:spPr>
        <a:ln>
          <a:noFill/>
        </a:ln>
      </dgm:spPr>
      <dgm:t>
        <a:bodyPr/>
        <a:lstStyle/>
        <a:p>
          <a:pPr>
            <a:lnSpc>
              <a:spcPct val="150000"/>
            </a:lnSpc>
            <a:buNone/>
          </a:pPr>
          <a:r>
            <a:rPr lang="en-US" sz="2000" b="0" i="0" dirty="0">
              <a:solidFill>
                <a:schemeClr val="bg1"/>
              </a:solidFill>
            </a:rPr>
            <a:t>Natural language processing (NLP) tasks</a:t>
          </a:r>
        </a:p>
      </dgm:t>
    </dgm:pt>
    <dgm:pt modelId="{25CE6966-0B0B-B648-91BE-1D07814C436F}" type="parTrans" cxnId="{47226331-2463-624F-9E7D-78B401B1B36D}">
      <dgm:prSet/>
      <dgm:spPr/>
      <dgm:t>
        <a:bodyPr/>
        <a:lstStyle/>
        <a:p>
          <a:endParaRPr lang="en-US"/>
        </a:p>
      </dgm:t>
    </dgm:pt>
    <dgm:pt modelId="{92881221-C243-B540-BC5E-E69C7023C41B}" type="sibTrans" cxnId="{47226331-2463-624F-9E7D-78B401B1B36D}">
      <dgm:prSet/>
      <dgm:spPr/>
      <dgm:t>
        <a:bodyPr/>
        <a:lstStyle/>
        <a:p>
          <a:endParaRPr lang="en-US"/>
        </a:p>
      </dgm:t>
    </dgm:pt>
    <dgm:pt modelId="{739B01B7-0003-C84F-AB87-1DC7A0BFF4B0}" type="pres">
      <dgm:prSet presAssocID="{2AA711CF-C105-47D8-807D-7AB944337CE9}" presName="linear" presStyleCnt="0">
        <dgm:presLayoutVars>
          <dgm:dir/>
          <dgm:animLvl val="lvl"/>
          <dgm:resizeHandles val="exact"/>
        </dgm:presLayoutVars>
      </dgm:prSet>
      <dgm:spPr/>
    </dgm:pt>
    <dgm:pt modelId="{2A1647D1-BB7B-A94D-8EAB-77CFDE073EF9}" type="pres">
      <dgm:prSet presAssocID="{5969FB75-6F40-4C8E-BABB-659DC4A92074}" presName="parentLin" presStyleCnt="0"/>
      <dgm:spPr/>
    </dgm:pt>
    <dgm:pt modelId="{8C5EF6FE-3096-3F46-8D1C-C556ABC79140}" type="pres">
      <dgm:prSet presAssocID="{5969FB75-6F40-4C8E-BABB-659DC4A92074}" presName="parentLeftMargin" presStyleLbl="node1" presStyleIdx="0" presStyleCnt="2"/>
      <dgm:spPr/>
    </dgm:pt>
    <dgm:pt modelId="{92ACBE58-F483-1041-B6E5-F96D1D27229B}" type="pres">
      <dgm:prSet presAssocID="{5969FB75-6F40-4C8E-BABB-659DC4A92074}" presName="parentText" presStyleLbl="node1" presStyleIdx="0" presStyleCnt="2">
        <dgm:presLayoutVars>
          <dgm:chMax val="0"/>
          <dgm:bulletEnabled val="1"/>
        </dgm:presLayoutVars>
      </dgm:prSet>
      <dgm:spPr/>
    </dgm:pt>
    <dgm:pt modelId="{E75CD9CA-69AF-B645-B46B-69BE09AD7E37}" type="pres">
      <dgm:prSet presAssocID="{5969FB75-6F40-4C8E-BABB-659DC4A92074}" presName="negativeSpace" presStyleCnt="0"/>
      <dgm:spPr/>
    </dgm:pt>
    <dgm:pt modelId="{417C18AD-8529-ED4E-B3C2-32A70F664E0A}" type="pres">
      <dgm:prSet presAssocID="{5969FB75-6F40-4C8E-BABB-659DC4A92074}" presName="childText" presStyleLbl="conFgAcc1" presStyleIdx="0" presStyleCnt="2">
        <dgm:presLayoutVars>
          <dgm:bulletEnabled val="1"/>
        </dgm:presLayoutVars>
      </dgm:prSet>
      <dgm:spPr/>
    </dgm:pt>
    <dgm:pt modelId="{300D95DD-2764-E043-9A56-4E52DB107ADC}" type="pres">
      <dgm:prSet presAssocID="{5017F004-937A-45FB-AD37-FFFEAE1286C0}" presName="spaceBetweenRectangles" presStyleCnt="0"/>
      <dgm:spPr/>
    </dgm:pt>
    <dgm:pt modelId="{9D34C37E-4A65-EB42-A85F-117CBF176DEA}" type="pres">
      <dgm:prSet presAssocID="{33666672-0834-427A-911B-A15F8A130725}" presName="parentLin" presStyleCnt="0"/>
      <dgm:spPr/>
    </dgm:pt>
    <dgm:pt modelId="{50A90EED-2B6C-4742-A982-5B4E04766574}" type="pres">
      <dgm:prSet presAssocID="{33666672-0834-427A-911B-A15F8A130725}" presName="parentLeftMargin" presStyleLbl="node1" presStyleIdx="0" presStyleCnt="2"/>
      <dgm:spPr/>
    </dgm:pt>
    <dgm:pt modelId="{5E755FAC-8EB6-4D4A-AD90-DA0440468BD5}" type="pres">
      <dgm:prSet presAssocID="{33666672-0834-427A-911B-A15F8A130725}" presName="parentText" presStyleLbl="node1" presStyleIdx="1" presStyleCnt="2">
        <dgm:presLayoutVars>
          <dgm:chMax val="0"/>
          <dgm:bulletEnabled val="1"/>
        </dgm:presLayoutVars>
      </dgm:prSet>
      <dgm:spPr/>
    </dgm:pt>
    <dgm:pt modelId="{57CE81CE-94E6-2144-AB00-F00E749AA077}" type="pres">
      <dgm:prSet presAssocID="{33666672-0834-427A-911B-A15F8A130725}" presName="negativeSpace" presStyleCnt="0"/>
      <dgm:spPr/>
    </dgm:pt>
    <dgm:pt modelId="{C0B86F06-A5FB-A540-88FA-1F2347DA8961}" type="pres">
      <dgm:prSet presAssocID="{33666672-0834-427A-911B-A15F8A130725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56F7D501-8757-834B-B4AC-9DB2E759C5A4}" type="presOf" srcId="{22C9EFDA-BD71-554C-BFC5-7EDAA1C59B8F}" destId="{C0B86F06-A5FB-A540-88FA-1F2347DA8961}" srcOrd="0" destOrd="1" presId="urn:microsoft.com/office/officeart/2005/8/layout/list1"/>
    <dgm:cxn modelId="{228E6608-2115-EF48-A092-4EC4204C2A9D}" type="presOf" srcId="{2AA711CF-C105-47D8-807D-7AB944337CE9}" destId="{739B01B7-0003-C84F-AB87-1DC7A0BFF4B0}" srcOrd="0" destOrd="0" presId="urn:microsoft.com/office/officeart/2005/8/layout/list1"/>
    <dgm:cxn modelId="{82582A2F-4765-8044-9E01-D8450E83435F}" type="presOf" srcId="{5969FB75-6F40-4C8E-BABB-659DC4A92074}" destId="{8C5EF6FE-3096-3F46-8D1C-C556ABC79140}" srcOrd="0" destOrd="0" presId="urn:microsoft.com/office/officeart/2005/8/layout/list1"/>
    <dgm:cxn modelId="{47226331-2463-624F-9E7D-78B401B1B36D}" srcId="{33666672-0834-427A-911B-A15F8A130725}" destId="{22C9EFDA-BD71-554C-BFC5-7EDAA1C59B8F}" srcOrd="1" destOrd="0" parTransId="{25CE6966-0B0B-B648-91BE-1D07814C436F}" sibTransId="{92881221-C243-B540-BC5E-E69C7023C41B}"/>
    <dgm:cxn modelId="{F858C23E-AC38-314D-9633-7BFB10B007C0}" type="presOf" srcId="{677467B3-0545-46CB-A4B1-AB29835C3E92}" destId="{417C18AD-8529-ED4E-B3C2-32A70F664E0A}" srcOrd="0" destOrd="0" presId="urn:microsoft.com/office/officeart/2005/8/layout/list1"/>
    <dgm:cxn modelId="{3BBDAF4B-EB88-4E90-91B5-CF817958D2B4}" srcId="{5969FB75-6F40-4C8E-BABB-659DC4A92074}" destId="{677467B3-0545-46CB-A4B1-AB29835C3E92}" srcOrd="0" destOrd="0" parTransId="{47249DA2-6768-4549-A0C9-287963FC1BF2}" sibTransId="{7B4EF3CD-0595-4E13-B5D6-56DE13E45D27}"/>
    <dgm:cxn modelId="{5B162765-73D6-494E-86AC-7AC92E12EEBE}" type="presOf" srcId="{51F5984C-6AA0-4A2D-B809-EB4E8940D700}" destId="{C0B86F06-A5FB-A540-88FA-1F2347DA8961}" srcOrd="0" destOrd="0" presId="urn:microsoft.com/office/officeart/2005/8/layout/list1"/>
    <dgm:cxn modelId="{2949736C-1F41-4DE4-BBEC-2BD8E53C631E}" srcId="{2AA711CF-C105-47D8-807D-7AB944337CE9}" destId="{33666672-0834-427A-911B-A15F8A130725}" srcOrd="1" destOrd="0" parTransId="{EEB652D0-F218-4A96-B31C-531F30A11E15}" sibTransId="{D6AA1194-8850-4154-BE77-4C35A16C75FA}"/>
    <dgm:cxn modelId="{A95CCE70-A051-6A4C-9F4B-F983CDF0926F}" type="presOf" srcId="{33666672-0834-427A-911B-A15F8A130725}" destId="{5E755FAC-8EB6-4D4A-AD90-DA0440468BD5}" srcOrd="1" destOrd="0" presId="urn:microsoft.com/office/officeart/2005/8/layout/list1"/>
    <dgm:cxn modelId="{9FB44A74-E2F5-0B49-8867-4A406B1637D4}" type="presOf" srcId="{1CA06E86-E1AC-420D-A1CA-852783100AA7}" destId="{417C18AD-8529-ED4E-B3C2-32A70F664E0A}" srcOrd="0" destOrd="1" presId="urn:microsoft.com/office/officeart/2005/8/layout/list1"/>
    <dgm:cxn modelId="{27A079B6-A526-46BC-A2A8-DB1B6A19E62C}" srcId="{5969FB75-6F40-4C8E-BABB-659DC4A92074}" destId="{1CA06E86-E1AC-420D-A1CA-852783100AA7}" srcOrd="1" destOrd="0" parTransId="{5A1214F5-6B55-4142-871E-11A6311854E8}" sibTransId="{2A2D5063-2793-448B-B038-B7740DD68F13}"/>
    <dgm:cxn modelId="{5AA494C5-025C-7647-B0BF-E4180BF84F8F}" type="presOf" srcId="{5969FB75-6F40-4C8E-BABB-659DC4A92074}" destId="{92ACBE58-F483-1041-B6E5-F96D1D27229B}" srcOrd="1" destOrd="0" presId="urn:microsoft.com/office/officeart/2005/8/layout/list1"/>
    <dgm:cxn modelId="{B971ABE6-10EC-492D-9C97-7733C1D4E518}" srcId="{2AA711CF-C105-47D8-807D-7AB944337CE9}" destId="{5969FB75-6F40-4C8E-BABB-659DC4A92074}" srcOrd="0" destOrd="0" parTransId="{7F6D3CCE-1265-45AE-809D-DF7AE197F92A}" sibTransId="{5017F004-937A-45FB-AD37-FFFEAE1286C0}"/>
    <dgm:cxn modelId="{5ECAB0E9-600D-4A8A-8B4C-C6938AB5C33A}" srcId="{33666672-0834-427A-911B-A15F8A130725}" destId="{51F5984C-6AA0-4A2D-B809-EB4E8940D700}" srcOrd="0" destOrd="0" parTransId="{4B802026-C5E1-4709-BEAC-0707ED58F4B0}" sibTransId="{A41D99B2-4FE3-4164-A6E9-5347D8D9B920}"/>
    <dgm:cxn modelId="{D8FC6FFD-5694-D640-967E-BD92FABFC734}" type="presOf" srcId="{33666672-0834-427A-911B-A15F8A130725}" destId="{50A90EED-2B6C-4742-A982-5B4E04766574}" srcOrd="0" destOrd="0" presId="urn:microsoft.com/office/officeart/2005/8/layout/list1"/>
    <dgm:cxn modelId="{5B51122A-7FE7-D249-B311-24EBBCD4F243}" type="presParOf" srcId="{739B01B7-0003-C84F-AB87-1DC7A0BFF4B0}" destId="{2A1647D1-BB7B-A94D-8EAB-77CFDE073EF9}" srcOrd="0" destOrd="0" presId="urn:microsoft.com/office/officeart/2005/8/layout/list1"/>
    <dgm:cxn modelId="{E484D0C5-0FEC-F74C-8BD8-7506809BA91D}" type="presParOf" srcId="{2A1647D1-BB7B-A94D-8EAB-77CFDE073EF9}" destId="{8C5EF6FE-3096-3F46-8D1C-C556ABC79140}" srcOrd="0" destOrd="0" presId="urn:microsoft.com/office/officeart/2005/8/layout/list1"/>
    <dgm:cxn modelId="{6263F2E7-78BA-8C48-A9A9-CBFACBECB1CA}" type="presParOf" srcId="{2A1647D1-BB7B-A94D-8EAB-77CFDE073EF9}" destId="{92ACBE58-F483-1041-B6E5-F96D1D27229B}" srcOrd="1" destOrd="0" presId="urn:microsoft.com/office/officeart/2005/8/layout/list1"/>
    <dgm:cxn modelId="{FA007FF1-3462-7943-A9EB-E38D2F97208D}" type="presParOf" srcId="{739B01B7-0003-C84F-AB87-1DC7A0BFF4B0}" destId="{E75CD9CA-69AF-B645-B46B-69BE09AD7E37}" srcOrd="1" destOrd="0" presId="urn:microsoft.com/office/officeart/2005/8/layout/list1"/>
    <dgm:cxn modelId="{BB2A6306-FD0D-C443-B756-0836D5B6B831}" type="presParOf" srcId="{739B01B7-0003-C84F-AB87-1DC7A0BFF4B0}" destId="{417C18AD-8529-ED4E-B3C2-32A70F664E0A}" srcOrd="2" destOrd="0" presId="urn:microsoft.com/office/officeart/2005/8/layout/list1"/>
    <dgm:cxn modelId="{CEBDDCCE-2BF5-8C40-A1AE-1B649CFD5C83}" type="presParOf" srcId="{739B01B7-0003-C84F-AB87-1DC7A0BFF4B0}" destId="{300D95DD-2764-E043-9A56-4E52DB107ADC}" srcOrd="3" destOrd="0" presId="urn:microsoft.com/office/officeart/2005/8/layout/list1"/>
    <dgm:cxn modelId="{695008C5-679B-C74F-9A14-8CE116DB6E4A}" type="presParOf" srcId="{739B01B7-0003-C84F-AB87-1DC7A0BFF4B0}" destId="{9D34C37E-4A65-EB42-A85F-117CBF176DEA}" srcOrd="4" destOrd="0" presId="urn:microsoft.com/office/officeart/2005/8/layout/list1"/>
    <dgm:cxn modelId="{5239EF6A-EE3F-CC41-84C6-B181F0110100}" type="presParOf" srcId="{9D34C37E-4A65-EB42-A85F-117CBF176DEA}" destId="{50A90EED-2B6C-4742-A982-5B4E04766574}" srcOrd="0" destOrd="0" presId="urn:microsoft.com/office/officeart/2005/8/layout/list1"/>
    <dgm:cxn modelId="{46D12BA9-B219-7347-9196-D9A7450675E4}" type="presParOf" srcId="{9D34C37E-4A65-EB42-A85F-117CBF176DEA}" destId="{5E755FAC-8EB6-4D4A-AD90-DA0440468BD5}" srcOrd="1" destOrd="0" presId="urn:microsoft.com/office/officeart/2005/8/layout/list1"/>
    <dgm:cxn modelId="{7071E229-69C5-214B-8F7A-67F83DE7D599}" type="presParOf" srcId="{739B01B7-0003-C84F-AB87-1DC7A0BFF4B0}" destId="{57CE81CE-94E6-2144-AB00-F00E749AA077}" srcOrd="5" destOrd="0" presId="urn:microsoft.com/office/officeart/2005/8/layout/list1"/>
    <dgm:cxn modelId="{50DDAF7B-665B-5D45-816C-BF1D02F0B88A}" type="presParOf" srcId="{739B01B7-0003-C84F-AB87-1DC7A0BFF4B0}" destId="{C0B86F06-A5FB-A540-88FA-1F2347DA8961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7C18AD-8529-ED4E-B3C2-32A70F664E0A}">
      <dsp:nvSpPr>
        <dsp:cNvPr id="0" name=""/>
        <dsp:cNvSpPr/>
      </dsp:nvSpPr>
      <dsp:spPr>
        <a:xfrm>
          <a:off x="0" y="244143"/>
          <a:ext cx="10134600" cy="134662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6558" tIns="312420" rIns="786558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2000" kern="1200" dirty="0"/>
            <a:t>Is self-attention necessary?</a:t>
          </a:r>
        </a:p>
        <a:p>
          <a:pPr marL="2286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2000" kern="1200" dirty="0"/>
            <a:t>⇒ Gated multi layer perceptron (</a:t>
          </a:r>
          <a:r>
            <a:rPr lang="en-US" sz="2000" kern="1200" dirty="0" err="1"/>
            <a:t>gMLP</a:t>
          </a:r>
          <a:r>
            <a:rPr lang="en-US" sz="2000" kern="1200" dirty="0"/>
            <a:t>) </a:t>
          </a:r>
        </a:p>
      </dsp:txBody>
      <dsp:txXfrm>
        <a:off x="0" y="244143"/>
        <a:ext cx="10134600" cy="1346625"/>
      </dsp:txXfrm>
    </dsp:sp>
    <dsp:sp modelId="{92ACBE58-F483-1041-B6E5-F96D1D27229B}">
      <dsp:nvSpPr>
        <dsp:cNvPr id="0" name=""/>
        <dsp:cNvSpPr/>
      </dsp:nvSpPr>
      <dsp:spPr>
        <a:xfrm>
          <a:off x="506730" y="22743"/>
          <a:ext cx="7094219" cy="44280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8145" tIns="0" rIns="268145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/>
            <a:t>Motivation:</a:t>
          </a:r>
          <a:endParaRPr lang="en-US" sz="2000" kern="1200" dirty="0"/>
        </a:p>
      </dsp:txBody>
      <dsp:txXfrm>
        <a:off x="528346" y="44359"/>
        <a:ext cx="7050987" cy="399568"/>
      </dsp:txXfrm>
    </dsp:sp>
    <dsp:sp modelId="{C0B86F06-A5FB-A540-88FA-1F2347DA8961}">
      <dsp:nvSpPr>
        <dsp:cNvPr id="0" name=""/>
        <dsp:cNvSpPr/>
      </dsp:nvSpPr>
      <dsp:spPr>
        <a:xfrm>
          <a:off x="0" y="1893168"/>
          <a:ext cx="10134600" cy="1323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6558" tIns="312420" rIns="786558" bIns="142240" numCol="1" spcCol="1270" anchor="t" anchorCtr="0">
          <a:noAutofit/>
        </a:bodyPr>
        <a:lstStyle/>
        <a:p>
          <a:pPr marL="2286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2000" b="0" i="0" kern="1200" dirty="0">
              <a:solidFill>
                <a:schemeClr val="bg1"/>
              </a:solidFill>
            </a:rPr>
            <a:t>Image Classification</a:t>
          </a:r>
        </a:p>
        <a:p>
          <a:pPr marL="228600" lvl="1" indent="-228600" algn="l" defTabSz="889000">
            <a:lnSpc>
              <a:spcPct val="150000"/>
            </a:lnSpc>
            <a:spcBef>
              <a:spcPct val="0"/>
            </a:spcBef>
            <a:spcAft>
              <a:spcPct val="15000"/>
            </a:spcAft>
            <a:buNone/>
          </a:pPr>
          <a:r>
            <a:rPr lang="en-US" sz="2000" b="0" i="0" kern="1200" dirty="0">
              <a:solidFill>
                <a:schemeClr val="bg1"/>
              </a:solidFill>
            </a:rPr>
            <a:t>Natural language processing (NLP) tasks</a:t>
          </a:r>
        </a:p>
      </dsp:txBody>
      <dsp:txXfrm>
        <a:off x="0" y="1893168"/>
        <a:ext cx="10134600" cy="1323000"/>
      </dsp:txXfrm>
    </dsp:sp>
    <dsp:sp modelId="{5E755FAC-8EB6-4D4A-AD90-DA0440468BD5}">
      <dsp:nvSpPr>
        <dsp:cNvPr id="0" name=""/>
        <dsp:cNvSpPr/>
      </dsp:nvSpPr>
      <dsp:spPr>
        <a:xfrm>
          <a:off x="506730" y="1671768"/>
          <a:ext cx="7094219" cy="442800"/>
        </a:xfrm>
        <a:prstGeom prst="round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8145" tIns="0" rIns="268145" bIns="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bg1"/>
              </a:solidFill>
            </a:rPr>
            <a:t>Experiments:</a:t>
          </a:r>
          <a:endParaRPr lang="en-US" sz="2000" kern="1200" dirty="0">
            <a:solidFill>
              <a:schemeClr val="bg1"/>
            </a:solidFill>
          </a:endParaRPr>
        </a:p>
      </dsp:txBody>
      <dsp:txXfrm>
        <a:off x="528346" y="1693384"/>
        <a:ext cx="7050987" cy="3995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718F2F-0A1B-D444-A226-50AD67670FD4}" type="datetimeFigureOut">
              <a:rPr lang="en-US" smtClean="0"/>
              <a:t>5/15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52BA93-0A2A-E94A-AE00-0C1D4CF5AA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1502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7349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Symbol" pitchFamily="2" charset="2"/>
              <a:buChar char="Þ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5426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r>
              <a:rPr lang="en-US" dirty="0"/>
              <a:t>Perplexity only important in model size not atten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6544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Symbol" pitchFamily="2" charset="2"/>
              <a:buChar char="Þ"/>
            </a:pPr>
            <a:endParaRPr lang="en-US" dirty="0"/>
          </a:p>
          <a:p>
            <a:pPr marL="285750" indent="-285750">
              <a:buFont typeface="Symbol" pitchFamily="2" charset="2"/>
              <a:buChar char="Þ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660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self-attention mechanism commonly used in transformer models with Fourier transforms: achieve faster processing speeds and use fewer resources</a:t>
            </a:r>
          </a:p>
          <a:p>
            <a:endParaRPr lang="en-US" b="0" i="0" dirty="0">
              <a:solidFill>
                <a:srgbClr val="0D0D0D"/>
              </a:solidFill>
              <a:effectLst/>
              <a:latin typeface="Söhne"/>
            </a:endParaRPr>
          </a:p>
          <a:p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Bidirectional Gated State Space Model (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BiGS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) which employs state-space models (SSMs) and a multiplicative gating architecture for sequence routing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3858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3159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819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ow only ‘til 2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71908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Vector representation</a:t>
            </a:r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key: set of words</a:t>
            </a:r>
          </a:p>
          <a:p>
            <a:r>
              <a:rPr lang="en-US" dirty="0"/>
              <a:t>query: relevance to this specific word</a:t>
            </a:r>
          </a:p>
          <a:p>
            <a:r>
              <a:rPr lang="en-US" dirty="0"/>
              <a:t>Value: value of query within the sentence</a:t>
            </a:r>
          </a:p>
          <a:p>
            <a:endParaRPr lang="en-US" dirty="0"/>
          </a:p>
          <a:p>
            <a:r>
              <a:rPr lang="en-US" dirty="0" err="1"/>
              <a:t>Multihead</a:t>
            </a:r>
            <a:r>
              <a:rPr lang="en-US" dirty="0"/>
              <a:t> attention: do it with several versions in parall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7811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4624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hannel projection 1: convert input to a more informative data e.g. colored image -&gt; information about the red, blue, green</a:t>
            </a:r>
          </a:p>
          <a:p>
            <a:endParaRPr lang="en-US" dirty="0"/>
          </a:p>
          <a:p>
            <a:r>
              <a:rPr lang="en-US" dirty="0"/>
              <a:t>Channel projection 2: reformate input from SGU to as cp1</a:t>
            </a:r>
          </a:p>
          <a:p>
            <a:endParaRPr lang="en-US" dirty="0"/>
          </a:p>
          <a:p>
            <a:r>
              <a:rPr lang="en-US" dirty="0"/>
              <a:t>Split: focus only on one part of the information to find valuable insights</a:t>
            </a:r>
          </a:p>
          <a:p>
            <a:endParaRPr lang="en-US" dirty="0"/>
          </a:p>
          <a:p>
            <a:r>
              <a:rPr lang="en-US" dirty="0"/>
              <a:t>Only gradually injects spatial information during trai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71994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dvantage: it is non-</a:t>
            </a:r>
            <a:r>
              <a:rPr lang="en-US" dirty="0" err="1"/>
              <a:t>monoton</a:t>
            </a:r>
            <a:r>
              <a:rPr lang="en-US" dirty="0"/>
              <a:t> and and non-convex =&gt; approx. more complicated functions (</a:t>
            </a:r>
            <a:r>
              <a:rPr lang="en-US" dirty="0" err="1"/>
              <a:t>Relu</a:t>
            </a:r>
            <a:r>
              <a:rPr lang="en-US" dirty="0"/>
              <a:t> is linear in the pos. domain)</a:t>
            </a:r>
          </a:p>
          <a:p>
            <a:r>
              <a:rPr lang="en-US" dirty="0"/>
              <a:t>MNIST classification, MNIST autoencoder</a:t>
            </a:r>
          </a:p>
          <a:p>
            <a:endParaRPr lang="en-US" dirty="0"/>
          </a:p>
          <a:p>
            <a:r>
              <a:rPr lang="en-US" dirty="0"/>
              <a:t>SOURCE Gelu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1" dirty="0" err="1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Bembo"/>
              </a:rPr>
              <a:t>Hendrycks</a:t>
            </a:r>
            <a:r>
              <a:rPr lang="en-US" sz="1200" i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Bembo"/>
              </a:rPr>
              <a:t>, D. and </a:t>
            </a:r>
            <a:r>
              <a:rPr lang="en-US" sz="1200" i="1" dirty="0" err="1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Bembo"/>
              </a:rPr>
              <a:t>Gimpel</a:t>
            </a:r>
            <a:r>
              <a:rPr lang="en-US" sz="1200" i="1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Bembo"/>
              </a:rPr>
              <a:t>, K. (2016). </a:t>
            </a:r>
            <a:r>
              <a:rPr lang="en-US" sz="1200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Bembo"/>
              </a:rPr>
              <a:t>Gaussian error linear units (GELUs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1416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LP in Transformer Encoder: use same/similar width and depth of the layer</a:t>
            </a:r>
          </a:p>
          <a:p>
            <a:r>
              <a:rPr lang="en-US" dirty="0"/>
              <a:t>Stochastic depth for increasing model size (avoid vanishing gradient)</a:t>
            </a:r>
          </a:p>
          <a:p>
            <a:r>
              <a:rPr lang="en-US" dirty="0"/>
              <a:t>	- randomly (based on stochastic value) drops layer</a:t>
            </a:r>
          </a:p>
          <a:p>
            <a:endParaRPr lang="en-US" dirty="0"/>
          </a:p>
          <a:p>
            <a:r>
              <a:rPr lang="en-US" dirty="0" err="1"/>
              <a:t>DeiT</a:t>
            </a:r>
            <a:r>
              <a:rPr lang="en-US" dirty="0"/>
              <a:t>: Data efficient image transform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279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96132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o positional encoding, mask out pad-tokens in finetuning (</a:t>
            </a:r>
            <a:r>
              <a:rPr lang="en-US" dirty="0" err="1"/>
              <a:t>bc</a:t>
            </a:r>
            <a:r>
              <a:rPr lang="en-US" dirty="0"/>
              <a:t> model learns to ignore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9545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earnable relative position bias: https://</a:t>
            </a:r>
            <a:r>
              <a:rPr lang="en-US" dirty="0" err="1"/>
              <a:t>arxiv.org</a:t>
            </a:r>
            <a:r>
              <a:rPr lang="en-US" dirty="0"/>
              <a:t>/pdf/1910.10683</a:t>
            </a:r>
          </a:p>
          <a:p>
            <a:r>
              <a:rPr lang="en-US" dirty="0"/>
              <a:t>	how much emphasis on the position </a:t>
            </a:r>
            <a:r>
              <a:rPr lang="en-US" dirty="0" err="1"/>
              <a:t>embedings</a:t>
            </a:r>
            <a:r>
              <a:rPr lang="en-US" dirty="0"/>
              <a:t> should be given relative to other tokens (positional influence of a token included – in attention usually ignored)</a:t>
            </a:r>
          </a:p>
          <a:p>
            <a:endParaRPr lang="en-US" dirty="0"/>
          </a:p>
          <a:p>
            <a:r>
              <a:rPr lang="en-US" dirty="0"/>
              <a:t>Wikipedia definition: https://</a:t>
            </a:r>
            <a:r>
              <a:rPr lang="en-US" dirty="0" err="1"/>
              <a:t>en.wikipedia.org</a:t>
            </a:r>
            <a:r>
              <a:rPr lang="en-US" dirty="0"/>
              <a:t>/wiki/Ablation_(</a:t>
            </a:r>
            <a:r>
              <a:rPr lang="en-US" dirty="0" err="1"/>
              <a:t>artificial_intelligence</a:t>
            </a:r>
            <a:r>
              <a:rPr lang="en-US" dirty="0"/>
              <a:t>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52BA93-0A2A-E94A-AE00-0C1D4CF5AA74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2396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D3B3C7E-BC2D-4436-8B03-AC421FA66787}"/>
              </a:ext>
            </a:extLst>
          </p:cNvPr>
          <p:cNvSpPr/>
          <p:nvPr/>
        </p:nvSpPr>
        <p:spPr>
          <a:xfrm>
            <a:off x="160920" y="157606"/>
            <a:ext cx="11870161" cy="654278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66887E-4265-46F7-9DE0-605FFFC907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5130" y="1066800"/>
            <a:ext cx="8112369" cy="2073119"/>
          </a:xfrm>
        </p:spPr>
        <p:txBody>
          <a:bodyPr anchor="b">
            <a:normAutofit/>
          </a:bodyPr>
          <a:lstStyle>
            <a:lvl1pPr algn="ctr">
              <a:lnSpc>
                <a:spcPct val="110000"/>
              </a:lnSpc>
              <a:defRPr sz="2800" cap="all" spc="39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EDB1A74-54F5-45CA-8922-87FFD57515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75804" y="4876802"/>
            <a:ext cx="7821637" cy="1028697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6BE6EF-9D0F-4ABF-B92C-E967FE3F16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64271D-3D51-6A4B-B8E6-1963EAA7FC2B}" type="datetime1">
              <a:rPr lang="en-US" smtClean="0"/>
              <a:t>5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4AB150-954C-4F02-89AC-DA7163D75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279965" y="6245352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E16270-CBD7-4ACC-BFC5-9CADE72266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9B5D0C1-066E-4C02-A6B8-59FAE4A19724}"/>
              </a:ext>
            </a:extLst>
          </p:cNvPr>
          <p:cNvGrpSpPr/>
          <p:nvPr/>
        </p:nvGrpSpPr>
        <p:grpSpPr>
          <a:xfrm>
            <a:off x="5662258" y="4240546"/>
            <a:ext cx="867485" cy="115439"/>
            <a:chOff x="8910933" y="1861308"/>
            <a:chExt cx="867485" cy="11543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D4386904-AFDC-449E-8D1B-906B305EBDA7}"/>
                </a:ext>
              </a:extLst>
            </p:cNvPr>
            <p:cNvSpPr/>
            <p:nvPr/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70778F2-11E8-428C-8324-479CA9D6FE92}"/>
                </a:ext>
              </a:extLst>
            </p:cNvPr>
            <p:cNvCxnSpPr/>
            <p:nvPr/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A0BE89E-CB2D-48BA-A8D2-533FAAAA725F}"/>
                </a:ext>
              </a:extLst>
            </p:cNvPr>
            <p:cNvCxnSpPr/>
            <p:nvPr/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548380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DB1126-542A-43AD-8078-EE3565165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4A5F98B-5F32-4561-BFBC-9F6E5DA0A3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028700" y="2161903"/>
            <a:ext cx="10134600" cy="374359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73D0DD-B04E-4E48-8EE1-51E46131A9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67E16-C176-AC40-99D9-406B41FC11BE}" type="datetime1">
              <a:rPr lang="en-US" smtClean="0"/>
              <a:t>5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81352D-F9C0-4442-9601-A09A7655E6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FC0801-9C45-40AE-AB33-5742CDA4D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4942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E946561-59BF-4566-AD2C-9B05C4771DF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196250" y="723899"/>
            <a:ext cx="2271849" cy="541020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1DF7870-6CBD-47E2-854C-68141BAA101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723900" y="723899"/>
            <a:ext cx="8302534" cy="5410201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12FAF3-C106-49CB-A845-1FC7F7313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8D6803-9743-E344-B8F6-08B5F77B8D7B}" type="datetime1">
              <a:rPr lang="en-US" smtClean="0"/>
              <a:t>5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4D5CCC-00E8-48FA-91A6-921E7B6440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B7E1751-E7AA-406D-A977-1ACEF1FBD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327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D2DC87-4B97-4A7C-BC4C-6E77245616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B59FD9-57FD-4ABA-9FCD-7954052534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7BD40E-B0AA-47B8-900F-488A8AEC1B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419D26-C133-1F47-B1FD-41B1D2E1F14F}" type="datetime1">
              <a:rPr lang="en-US" smtClean="0"/>
              <a:t>5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5E623C-1E35-4485-A5B4-A71969BE70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5C6BB9-EF4F-465E-985B-34521F68C5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557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7F5577-D71B-4279-B07A-62F703E5D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B4D340-4CAD-A045-ABC4-737A0C94D372}" type="datetime1">
              <a:rPr lang="en-US" smtClean="0"/>
              <a:t>5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48367D-C35C-4023-BEBE-F834D033B0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BFCF8A-B8C6-496A-98A5-BBB52DB70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CDE45C10-227D-42DF-A888-EEFD3784FA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3900" y="750338"/>
            <a:ext cx="4580642" cy="5494694"/>
          </a:xfrm>
          <a:custGeom>
            <a:avLst/>
            <a:gdLst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0 w 6096000"/>
              <a:gd name="connsiteY3" fmla="*/ 6858000 h 6858000"/>
              <a:gd name="connsiteX4" fmla="*/ 0 w 6096000"/>
              <a:gd name="connsiteY4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58886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0" fmla="*/ 0 w 6096000"/>
              <a:gd name="connsiteY0" fmla="*/ 0 h 6858000"/>
              <a:gd name="connsiteX1" fmla="*/ 6096000 w 6096000"/>
              <a:gd name="connsiteY1" fmla="*/ 0 h 6858000"/>
              <a:gd name="connsiteX2" fmla="*/ 6096000 w 6096000"/>
              <a:gd name="connsiteY2" fmla="*/ 6858000 h 6858000"/>
              <a:gd name="connsiteX3" fmla="*/ 3037115 w 6096000"/>
              <a:gd name="connsiteY3" fmla="*/ 5889172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858000">
                <a:moveTo>
                  <a:pt x="0" y="0"/>
                </a:moveTo>
                <a:lnTo>
                  <a:pt x="6096000" y="0"/>
                </a:lnTo>
                <a:lnTo>
                  <a:pt x="6096000" y="6858000"/>
                </a:lnTo>
                <a:lnTo>
                  <a:pt x="3037115" y="5889172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DA214944-8898-48BC-AE6F-065DA7BBB8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580478" y="4714704"/>
            <a:ext cx="867485" cy="115439"/>
            <a:chOff x="8910933" y="1861308"/>
            <a:chExt cx="867485" cy="11543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94B3AAB-30C4-441D-B481-D253F8325953}"/>
                </a:ext>
              </a:extLst>
            </p:cNvPr>
            <p:cNvSpPr/>
            <p:nvPr/>
          </p:nvSpPr>
          <p:spPr>
            <a:xfrm rot="18964825" flipH="1">
              <a:off x="9286956" y="1861308"/>
              <a:ext cx="115439" cy="115439"/>
            </a:xfrm>
            <a:prstGeom prst="rect">
              <a:avLst/>
            </a:prstGeom>
            <a:noFill/>
            <a:ln w="158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DCB6176-5585-40BC-BC9C-CA625F989F1B}"/>
                </a:ext>
              </a:extLst>
            </p:cNvPr>
            <p:cNvCxnSpPr/>
            <p:nvPr/>
          </p:nvCxnSpPr>
          <p:spPr>
            <a:xfrm>
              <a:off x="9426289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7C4F1D9-97D8-43DD-A319-C56367F97FCE}"/>
                </a:ext>
              </a:extLst>
            </p:cNvPr>
            <p:cNvCxnSpPr/>
            <p:nvPr/>
          </p:nvCxnSpPr>
          <p:spPr>
            <a:xfrm>
              <a:off x="8910933" y="1919027"/>
              <a:ext cx="352129" cy="0"/>
            </a:xfrm>
            <a:prstGeom prst="line">
              <a:avLst/>
            </a:prstGeom>
            <a:ln w="158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25E64ED-B373-4866-B5A2-E805D3168B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1291" y="1274475"/>
            <a:ext cx="3761832" cy="2823913"/>
          </a:xfrm>
        </p:spPr>
        <p:txBody>
          <a:bodyPr anchor="b">
            <a:normAutofit/>
          </a:bodyPr>
          <a:lstStyle>
            <a:lvl1pPr algn="ctr">
              <a:defRPr sz="3200" cap="all" spc="6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B6D6168-DDAE-41B2-A0D5-42185A2D02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56756" y="2730304"/>
            <a:ext cx="4383030" cy="139739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83376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5825EB-71EE-41B3-89D2-47A0C7C359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662F7D-C4AD-4BD4-AAC8-F0223EE4A38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37305" y="2155369"/>
            <a:ext cx="4953000" cy="399832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0FB088-28C6-4667-8DF2-0DE32AE3EC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2155369"/>
            <a:ext cx="4953000" cy="399832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F36095F-AE34-4E94-B722-E3A1205AEE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03058-AFB2-F740-B3C4-C6E9BD70BC93}" type="datetime1">
              <a:rPr lang="en-US" smtClean="0"/>
              <a:t>5/1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06A8E6-BD94-48EA-8F35-DA0DF910A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0478AEF-56B8-49F5-81E8-663B1FFA07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6395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CF873F-001F-4254-97F3-05329E6A7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555171"/>
            <a:ext cx="10134600" cy="113551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A37B575-060F-4296-A28A-93DA109F96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37306" y="1801620"/>
            <a:ext cx="4849036" cy="814387"/>
          </a:xfrm>
        </p:spPr>
        <p:txBody>
          <a:bodyPr anchor="b">
            <a:normAutofit/>
          </a:bodyPr>
          <a:lstStyle>
            <a:lvl1pPr marL="0" indent="0">
              <a:buNone/>
              <a:defRPr sz="1800" b="0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581A51-F4D1-4A02-9918-C416F820B64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37306" y="2619103"/>
            <a:ext cx="4849036" cy="35149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2916D0-3DFE-455D-9888-3FDEFD3DE0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50108" y="1801620"/>
            <a:ext cx="4904585" cy="814387"/>
          </a:xfrm>
        </p:spPr>
        <p:txBody>
          <a:bodyPr anchor="b">
            <a:normAutofit/>
          </a:bodyPr>
          <a:lstStyle>
            <a:lvl1pPr marL="0" indent="0">
              <a:buNone/>
              <a:defRPr sz="1800" b="0" cap="all" spc="300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93D763-0643-4A48-8007-93391C59F6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50108" y="2619103"/>
            <a:ext cx="4904585" cy="351499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9A2D07B-3A5D-41C2-83B8-BD1AD6522C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4635AF-051D-1740-AE7F-18735A342946}" type="datetime1">
              <a:rPr lang="en-US" smtClean="0"/>
              <a:t>5/15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E2C1367-FE5A-4CDD-B85B-724FFFE5B5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92F244-23EB-4E1A-B74F-77F23F879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2600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876C0A-BEF4-4DE4-A9D2-C60298FC7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367C0AC-3C98-4D68-AE72-CFFA1638CC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B4B11-ECA6-634F-AA40-D7A8D2C747E8}" type="datetime1">
              <a:rPr lang="en-US" smtClean="0"/>
              <a:t>5/15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A7722A-E2E4-45D2-8A20-4853ED683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46B9201-B20B-4412-B745-F2F6A91487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03110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C4889A-9ABE-4409-BAD8-F84C36C1FA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E1C5C2-C32F-8044-90BD-5FB543623E61}" type="datetime1">
              <a:rPr lang="en-US" smtClean="0"/>
              <a:t>5/15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DDA5A70-FE21-4CB6-A67B-1DC798E9E3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84AD11-7FD2-432C-A6AB-395BE9275C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8222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397CF-9CDD-4E78-8F35-A2FFE7867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457200"/>
            <a:ext cx="37052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7194BFE-7A85-4123-B0F7-4DB1C141CE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1066800"/>
            <a:ext cx="6172200" cy="48386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41EFD6D-1929-4A73-A860-22A36FF5C1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66800" y="2057400"/>
            <a:ext cx="37052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B399A5-94A1-4452-AFF0-918BDA8B14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27878-CBD7-6847-A18E-379F29456C0E}" type="datetime1">
              <a:rPr lang="en-US" smtClean="0"/>
              <a:t>5/1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9589D8-DD83-406C-A77A-176D23993B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E46024-82ED-40EF-8846-F6CC44BC5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01714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BD12FA-83A4-42AF-98D7-312C4C5A71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66800" y="457200"/>
            <a:ext cx="37052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6CF1DC8-2932-4C6E-BFBB-8BA1C959842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1066800"/>
            <a:ext cx="5942012" cy="48387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D6E0000-EF01-46A5-8A71-25FB7EA3F9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066800" y="2057400"/>
            <a:ext cx="37052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01AD40B-9246-4532-9F73-5BA9061C3A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5FFD4D-F384-3B41-996F-2BAFF9D51F14}" type="datetime1">
              <a:rPr lang="en-US" smtClean="0"/>
              <a:t>5/15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BE6B9A0-5B1C-4F7B-828A-EF74E51478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2E99FB-C932-4165-A612-8B302D8F72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5534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C9A2EFB-A06C-8BF7-9616-939F7DBF9E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9353435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7772400" imgH="10058400" progId="TCLayout.ActiveDocument.1">
                  <p:embed/>
                </p:oleObj>
              </mc:Choice>
              <mc:Fallback>
                <p:oleObj name="think-cell Slide" r:id="rId1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6CE7638-D991-46E7-BF2C-67D1AC8296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723900"/>
            <a:ext cx="10134600" cy="128848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7C6B9C-4923-4DAB-9748-D5CD289EB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28700" y="2161903"/>
            <a:ext cx="10134600" cy="396934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578CF6-4B33-40E4-B881-5F4C568378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4765" y="6245032"/>
            <a:ext cx="524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fld id="{19590046-DA73-4BBF-84B5-C08E6F75191A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AE857E-F564-4539-9984-10435B6140A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54841" y="6245032"/>
            <a:ext cx="26593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2"/>
                </a:solidFill>
              </a:defRPr>
            </a:lvl1pPr>
          </a:lstStyle>
          <a:p>
            <a:fld id="{1F0E24ED-D7C1-4C43-A1ED-354E6BE9CF92}" type="datetime1">
              <a:rPr lang="en-US" smtClean="0"/>
              <a:t>5/1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1EABEF-B998-4B11-A878-8F492F8E39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279964" y="6245033"/>
            <a:ext cx="411222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9EB54D17-3792-403D-9127-495845021D2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160920 w 12192000"/>
              <a:gd name="connsiteY0" fmla="*/ 157606 h 6858000"/>
              <a:gd name="connsiteX1" fmla="*/ 160920 w 12192000"/>
              <a:gd name="connsiteY1" fmla="*/ 6700394 h 6858000"/>
              <a:gd name="connsiteX2" fmla="*/ 12031081 w 12192000"/>
              <a:gd name="connsiteY2" fmla="*/ 6700394 h 6858000"/>
              <a:gd name="connsiteX3" fmla="*/ 12031081 w 12192000"/>
              <a:gd name="connsiteY3" fmla="*/ 1576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160920" y="157606"/>
                </a:moveTo>
                <a:lnTo>
                  <a:pt x="160920" y="6700394"/>
                </a:lnTo>
                <a:lnTo>
                  <a:pt x="12031081" y="6700394"/>
                </a:lnTo>
                <a:lnTo>
                  <a:pt x="12031081" y="1576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6508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0" r:id="rId2"/>
    <p:sldLayoutId id="2147483669" r:id="rId3"/>
    <p:sldLayoutId id="2147483668" r:id="rId4"/>
    <p:sldLayoutId id="2147483667" r:id="rId5"/>
    <p:sldLayoutId id="2147483666" r:id="rId6"/>
    <p:sldLayoutId id="2147483665" r:id="rId7"/>
    <p:sldLayoutId id="2147483664" r:id="rId8"/>
    <p:sldLayoutId id="2147483663" r:id="rId9"/>
    <p:sldLayoutId id="2147483662" r:id="rId10"/>
    <p:sldLayoutId id="2147483661" r:id="rId11"/>
  </p:sldLayoutIdLst>
  <p:hf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20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buFontTx/>
        <a:buNone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274320" indent="-228600" algn="l" defTabSz="914400" rtl="0" eaLnBrk="1" latinLnBrk="0" hangingPunct="1">
        <a:lnSpc>
          <a:spcPct val="110000"/>
        </a:lnSpc>
        <a:spcBef>
          <a:spcPts val="500"/>
        </a:spcBef>
        <a:buSzPct val="85000"/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274320" indent="0" algn="l" defTabSz="914400" rtl="0" eaLnBrk="1" latinLnBrk="0" hangingPunct="1">
        <a:lnSpc>
          <a:spcPct val="110000"/>
        </a:lnSpc>
        <a:spcBef>
          <a:spcPts val="500"/>
        </a:spcBef>
        <a:buFontTx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54864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548640" indent="0" algn="l" defTabSz="914400" rtl="0" eaLnBrk="1" latinLnBrk="0" hangingPunct="1">
        <a:lnSpc>
          <a:spcPct val="110000"/>
        </a:lnSpc>
        <a:spcBef>
          <a:spcPts val="500"/>
        </a:spcBef>
        <a:buFontTx/>
        <a:buNone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image" Target="../media/image34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image" Target="../media/image3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37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40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1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42.png"/><Relationship Id="rId5" Type="http://schemas.openxmlformats.org/officeDocument/2006/relationships/image" Target="../media/image8.png"/><Relationship Id="rId4" Type="http://schemas.openxmlformats.org/officeDocument/2006/relationships/image" Target="../media/image4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44.png"/><Relationship Id="rId4" Type="http://schemas.openxmlformats.org/officeDocument/2006/relationships/image" Target="../media/image43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46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5" Type="http://schemas.openxmlformats.org/officeDocument/2006/relationships/image" Target="../media/image47.emf"/><Relationship Id="rId4" Type="http://schemas.openxmlformats.org/officeDocument/2006/relationships/oleObject" Target="../embeddings/oleObject15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5" Type="http://schemas.openxmlformats.org/officeDocument/2006/relationships/image" Target="../media/image53.emf"/><Relationship Id="rId4" Type="http://schemas.openxmlformats.org/officeDocument/2006/relationships/oleObject" Target="../embeddings/oleObject17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.xml"/><Relationship Id="rId4" Type="http://schemas.openxmlformats.org/officeDocument/2006/relationships/image" Target="../media/image54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55.emf"/><Relationship Id="rId4" Type="http://schemas.openxmlformats.org/officeDocument/2006/relationships/oleObject" Target="../embeddings/oleObject19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56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5" Type="http://schemas.openxmlformats.org/officeDocument/2006/relationships/image" Target="../media/image57.emf"/><Relationship Id="rId4" Type="http://schemas.openxmlformats.org/officeDocument/2006/relationships/oleObject" Target="../embeddings/oleObject21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59.png"/><Relationship Id="rId4" Type="http://schemas.openxmlformats.org/officeDocument/2006/relationships/image" Target="../media/image58.emf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Relationship Id="rId4" Type="http://schemas.openxmlformats.org/officeDocument/2006/relationships/image" Target="../media/image6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15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6.png"/><Relationship Id="rId18" Type="http://schemas.microsoft.com/office/2007/relationships/hdphoto" Target="../media/hdphoto2.wdp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21.png"/><Relationship Id="rId12" Type="http://schemas.microsoft.com/office/2007/relationships/hdphoto" Target="../media/hdphoto1.wdp"/><Relationship Id="rId17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9.png"/><Relationship Id="rId1" Type="http://schemas.openxmlformats.org/officeDocument/2006/relationships/tags" Target="../tags/tag7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emf"/><Relationship Id="rId15" Type="http://schemas.openxmlformats.org/officeDocument/2006/relationships/image" Target="../media/image28.png"/><Relationship Id="rId10" Type="http://schemas.openxmlformats.org/officeDocument/2006/relationships/image" Target="../media/image24.png"/><Relationship Id="rId19" Type="http://schemas.openxmlformats.org/officeDocument/2006/relationships/image" Target="../media/image31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23.png"/><Relationship Id="rId14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4" Type="http://schemas.openxmlformats.org/officeDocument/2006/relationships/image" Target="../media/image3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C3B647-6AD3-9F9B-7094-7E41DE1A28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4000" b="1" dirty="0"/>
              <a:t>Pay attention </a:t>
            </a:r>
            <a:br>
              <a:rPr lang="en-US" sz="4000" b="1" dirty="0"/>
            </a:br>
            <a:r>
              <a:rPr lang="en-US" sz="4000" b="1" dirty="0"/>
              <a:t>to </a:t>
            </a:r>
            <a:r>
              <a:rPr lang="en-US" sz="4000" b="1" dirty="0" err="1"/>
              <a:t>mlp</a:t>
            </a:r>
            <a:r>
              <a:rPr lang="en-US" sz="3200" b="1" dirty="0" err="1"/>
              <a:t>s</a:t>
            </a:r>
            <a:r>
              <a:rPr lang="en-US" sz="4000" b="1" dirty="0"/>
              <a:t>!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F997612-70C7-9280-085D-6B7F0114A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80495" y="4598507"/>
            <a:ext cx="7821637" cy="1298710"/>
          </a:xfrm>
        </p:spPr>
        <p:txBody>
          <a:bodyPr>
            <a:normAutofit/>
          </a:bodyPr>
          <a:lstStyle/>
          <a:p>
            <a:r>
              <a:rPr lang="en-US" dirty="0"/>
              <a:t>MLPs = Multi Layer </a:t>
            </a:r>
            <a:r>
              <a:rPr lang="en-US" dirty="0" err="1"/>
              <a:t>Perceptrons</a:t>
            </a:r>
            <a:endParaRPr lang="en-US" dirty="0"/>
          </a:p>
          <a:p>
            <a:r>
              <a:rPr lang="en-US" dirty="0"/>
              <a:t>Google Research, Brain Team</a:t>
            </a:r>
          </a:p>
          <a:p>
            <a:r>
              <a:rPr lang="en-US" dirty="0"/>
              <a:t>2021</a:t>
            </a:r>
          </a:p>
        </p:txBody>
      </p:sp>
    </p:spTree>
    <p:extLst>
      <p:ext uri="{BB962C8B-B14F-4D97-AF65-F5344CB8AC3E}">
        <p14:creationId xmlns:p14="http://schemas.microsoft.com/office/powerpoint/2010/main" val="4721354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E8816A9-23E6-FD56-F579-D812CC82A3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07653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B33CEA8-29B9-7D32-424C-3C8AE097D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683559"/>
            <a:ext cx="10134600" cy="856129"/>
          </a:xfrm>
        </p:spPr>
        <p:txBody>
          <a:bodyPr vert="horz" anchor="t"/>
          <a:lstStyle/>
          <a:p>
            <a:r>
              <a:rPr lang="en-US" dirty="0"/>
              <a:t>Set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D95E67-F2EC-E36F-38C7-0BE0AD2F7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10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27B7010-80DC-B691-81A3-AC92270C3B7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56752"/>
          <a:stretch/>
        </p:blipFill>
        <p:spPr>
          <a:xfrm>
            <a:off x="1028700" y="1539688"/>
            <a:ext cx="4343400" cy="429771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A5ACE0D-ED94-5C8E-2082-D83C8905E4B8}"/>
              </a:ext>
            </a:extLst>
          </p:cNvPr>
          <p:cNvSpPr txBox="1"/>
          <p:nvPr/>
        </p:nvSpPr>
        <p:spPr>
          <a:xfrm>
            <a:off x="6819902" y="3365378"/>
            <a:ext cx="234230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Only difference:</a:t>
            </a:r>
          </a:p>
          <a:p>
            <a:r>
              <a:rPr lang="en-US" dirty="0"/>
              <a:t>No positional encoding</a:t>
            </a:r>
          </a:p>
        </p:txBody>
      </p:sp>
    </p:spTree>
    <p:extLst>
      <p:ext uri="{BB962C8B-B14F-4D97-AF65-F5344CB8AC3E}">
        <p14:creationId xmlns:p14="http://schemas.microsoft.com/office/powerpoint/2010/main" val="41220264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818204F-CD7E-B1CE-5238-BA17FD8DFD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449795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DA8D417-CE02-8733-B49B-9C1A5C55AE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723900"/>
            <a:ext cx="10134600" cy="627529"/>
          </a:xfrm>
        </p:spPr>
        <p:txBody>
          <a:bodyPr vert="horz" anchor="t"/>
          <a:lstStyle/>
          <a:p>
            <a:r>
              <a:rPr lang="en-US" dirty="0"/>
              <a:t>Ablation stud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CE3BF04-6878-0FB8-2334-C6451F7B95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8700" y="2460415"/>
            <a:ext cx="5067300" cy="3969342"/>
          </a:xfrm>
        </p:spPr>
        <p:txBody>
          <a:bodyPr>
            <a:normAutofit/>
          </a:bodyPr>
          <a:lstStyle/>
          <a:p>
            <a:endParaRPr lang="en-US" sz="1800" b="1" dirty="0"/>
          </a:p>
          <a:p>
            <a:r>
              <a:rPr lang="en-US" sz="1800" b="1" dirty="0"/>
              <a:t>Baselines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BE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BERT + relative position bias (rel. po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BERT + rel. pos – atten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1800" dirty="0"/>
              <a:t>MLP-Mix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8D6619-8C60-7E31-D13F-1D9F9033F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11</a:t>
            </a:fld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Content Placeholder 2">
                <a:extLst>
                  <a:ext uri="{FF2B5EF4-FFF2-40B4-BE49-F238E27FC236}">
                    <a16:creationId xmlns:a16="http://schemas.microsoft.com/office/drawing/2014/main" id="{BF2BA347-F673-D186-D8E8-172AE2AF048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096000" y="2403962"/>
                <a:ext cx="5067300" cy="3969342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0" indent="0" algn="l" defTabSz="914400" rtl="0" eaLnBrk="1" latinLnBrk="0" hangingPunct="1">
                  <a:lnSpc>
                    <a:spcPct val="110000"/>
                  </a:lnSpc>
                  <a:spcBef>
                    <a:spcPts val="1000"/>
                  </a:spcBef>
                  <a:buFontTx/>
                  <a:buNone/>
                  <a:defRPr sz="20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274320" indent="-228600" algn="l" defTabSz="914400" rtl="0" eaLnBrk="1" latinLnBrk="0" hangingPunct="1">
                  <a:lnSpc>
                    <a:spcPct val="110000"/>
                  </a:lnSpc>
                  <a:spcBef>
                    <a:spcPts val="500"/>
                  </a:spcBef>
                  <a:buSzPct val="85000"/>
                  <a:buFont typeface="Arial" panose="020B0604020202020204" pitchFamily="34" charset="0"/>
                  <a:buChar char="•"/>
                  <a:defRPr sz="18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2pPr>
                <a:lvl3pPr marL="274320" indent="0" algn="l" defTabSz="914400" rtl="0" eaLnBrk="1" latinLnBrk="0" hangingPunct="1">
                  <a:lnSpc>
                    <a:spcPct val="110000"/>
                  </a:lnSpc>
                  <a:spcBef>
                    <a:spcPts val="500"/>
                  </a:spcBef>
                  <a:buFontTx/>
                  <a:buNone/>
                  <a:defRPr sz="16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3pPr>
                <a:lvl4pPr marL="548640" indent="-228600" algn="l" defTabSz="914400" rtl="0" eaLnBrk="1" latinLnBrk="0" hangingPunct="1">
                  <a:lnSpc>
                    <a:spcPct val="11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4pPr>
                <a:lvl5pPr marL="548640" indent="0" algn="l" defTabSz="914400" rtl="0" eaLnBrk="1" latinLnBrk="0" hangingPunct="1">
                  <a:lnSpc>
                    <a:spcPct val="110000"/>
                  </a:lnSpc>
                  <a:spcBef>
                    <a:spcPts val="500"/>
                  </a:spcBef>
                  <a:buFontTx/>
                  <a:buNone/>
                  <a:defRPr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800" b="1" dirty="0"/>
              </a:p>
              <a:p>
                <a:r>
                  <a:rPr lang="en-US" sz="1800" b="1" dirty="0" err="1"/>
                  <a:t>gMLP</a:t>
                </a:r>
                <a:r>
                  <a:rPr lang="en-US" sz="1800" b="1" dirty="0"/>
                  <a:t> with </a:t>
                </a:r>
                <a14:m>
                  <m:oMath xmlns:m="http://schemas.openxmlformats.org/officeDocument/2006/math"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𝑠</m:t>
                    </m:r>
                    <m:d>
                      <m:dPr>
                        <m:ctrlPr>
                          <a:rPr lang="de-CH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sz="1800" b="0" i="1" smtClean="0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</m:d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en-US" sz="1800" b="1" dirty="0"/>
                  <a:t> …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𝑓</m:t>
                    </m:r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80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+ </m:t>
                    </m:r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de-CH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sz="1800" b="0" i="1" smtClean="0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</m:d>
                  </m:oMath>
                </a14:m>
                <a:endParaRPr lang="de-CH" sz="1800" b="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𝑍</m:t>
                    </m:r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 ⨀ </m:t>
                    </m:r>
                    <m:r>
                      <a:rPr lang="de-CH" sz="1800" b="0" i="1" smtClean="0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de-CH" sz="1800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de-CH" sz="1800" b="0" i="1" smtClean="0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</m:d>
                  </m:oMath>
                </a14:m>
                <a:endParaRPr lang="en-US" sz="1800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CH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CH" sz="1800" i="1">
                            <a:latin typeface="Cambria Math" panose="02040503050406030204" pitchFamily="18" charset="0"/>
                          </a:rPr>
                          <m:t>𝑍</m:t>
                        </m:r>
                      </m:e>
                      <m:sub>
                        <m:r>
                          <a:rPr lang="de-CH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de-CH" sz="1800" i="1">
                        <a:latin typeface="Cambria Math" panose="02040503050406030204" pitchFamily="18" charset="0"/>
                      </a:rPr>
                      <m:t> ⨀ </m:t>
                    </m:r>
                    <m:r>
                      <a:rPr lang="de-CH" sz="1800" i="1">
                        <a:latin typeface="Cambria Math" panose="02040503050406030204" pitchFamily="18" charset="0"/>
                      </a:rPr>
                      <m:t>𝑓</m:t>
                    </m:r>
                    <m:d>
                      <m:dPr>
                        <m:ctrlPr>
                          <a:rPr lang="de-CH" sz="1800" i="1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sSub>
                          <m:sSubPr>
                            <m:ctrlPr>
                              <a:rPr lang="de-CH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de-CH" sz="1800" i="1">
                                <a:latin typeface="Cambria Math" panose="02040503050406030204" pitchFamily="18" charset="0"/>
                              </a:rPr>
                              <m:t>𝑍</m:t>
                            </m:r>
                          </m:e>
                          <m:sub>
                            <m:r>
                              <a:rPr lang="de-CH" sz="18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</m:e>
                    </m:d>
                  </m:oMath>
                </a14:m>
                <a:endParaRPr lang="en-US" sz="1800" dirty="0"/>
              </a:p>
            </p:txBody>
          </p:sp>
        </mc:Choice>
        <mc:Fallback xmlns="">
          <p:sp>
            <p:nvSpPr>
              <p:cNvPr id="8" name="Content Placeholder 2">
                <a:extLst>
                  <a:ext uri="{FF2B5EF4-FFF2-40B4-BE49-F238E27FC236}">
                    <a16:creationId xmlns:a16="http://schemas.microsoft.com/office/drawing/2014/main" id="{BF2BA347-F673-D186-D8E8-172AE2AF048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2403962"/>
                <a:ext cx="5067300" cy="3969342"/>
              </a:xfrm>
              <a:prstGeom prst="rect">
                <a:avLst/>
              </a:prstGeom>
              <a:blipFill>
                <a:blip r:embed="rId6"/>
                <a:stretch>
                  <a:fillRect l="-100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extBox 8">
            <a:extLst>
              <a:ext uri="{FF2B5EF4-FFF2-40B4-BE49-F238E27FC236}">
                <a16:creationId xmlns:a16="http://schemas.microsoft.com/office/drawing/2014/main" id="{3D4C5E9B-B35A-CF65-45B0-B2B97B703DF0}"/>
              </a:ext>
            </a:extLst>
          </p:cNvPr>
          <p:cNvSpPr txBox="1"/>
          <p:nvPr/>
        </p:nvSpPr>
        <p:spPr>
          <a:xfrm>
            <a:off x="1028700" y="1508363"/>
            <a:ext cx="664284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2"/>
                </a:solidFill>
              </a:rPr>
              <a:t>Definition (Wikipedia): </a:t>
            </a:r>
          </a:p>
          <a:p>
            <a:r>
              <a:rPr lang="en-US" sz="1400" i="1" dirty="0">
                <a:solidFill>
                  <a:schemeClr val="tx2"/>
                </a:solidFill>
              </a:rPr>
              <a:t>“An ablation study </a:t>
            </a:r>
            <a:r>
              <a:rPr lang="en-US" sz="1400" b="1" i="1" dirty="0">
                <a:solidFill>
                  <a:schemeClr val="tx2"/>
                </a:solidFill>
              </a:rPr>
              <a:t>investigates the performance </a:t>
            </a:r>
            <a:r>
              <a:rPr lang="en-US" sz="1400" i="1" dirty="0">
                <a:solidFill>
                  <a:schemeClr val="tx2"/>
                </a:solidFill>
              </a:rPr>
              <a:t>of an AI system by </a:t>
            </a:r>
            <a:r>
              <a:rPr lang="en-US" sz="1400" b="1" i="1" dirty="0">
                <a:solidFill>
                  <a:schemeClr val="tx2"/>
                </a:solidFill>
              </a:rPr>
              <a:t>removing</a:t>
            </a:r>
            <a:r>
              <a:rPr lang="en-US" sz="1400" i="1" dirty="0">
                <a:solidFill>
                  <a:schemeClr val="tx2"/>
                </a:solidFill>
              </a:rPr>
              <a:t> certain components to understand the </a:t>
            </a:r>
            <a:r>
              <a:rPr lang="en-US" sz="1400" b="1" i="1" dirty="0">
                <a:solidFill>
                  <a:schemeClr val="tx2"/>
                </a:solidFill>
              </a:rPr>
              <a:t>contribution</a:t>
            </a:r>
            <a:r>
              <a:rPr lang="en-US" sz="1400" i="1" dirty="0">
                <a:solidFill>
                  <a:schemeClr val="tx2"/>
                </a:solidFill>
              </a:rPr>
              <a:t> of the component to the overall system.”</a:t>
            </a:r>
          </a:p>
        </p:txBody>
      </p:sp>
    </p:spTree>
    <p:extLst>
      <p:ext uri="{BB962C8B-B14F-4D97-AF65-F5344CB8AC3E}">
        <p14:creationId xmlns:p14="http://schemas.microsoft.com/office/powerpoint/2010/main" val="2039768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41FD24-690D-5658-0231-12822BC127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061400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D43A430-292D-4C22-7C2A-22A1B8571E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Ablation study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724F986-19B0-0F27-F2AD-B6474B7855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12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6B40F2-0E89-7A1C-325E-D760A42CABC1}"/>
              </a:ext>
            </a:extLst>
          </p:cNvPr>
          <p:cNvSpPr txBox="1"/>
          <p:nvPr/>
        </p:nvSpPr>
        <p:spPr>
          <a:xfrm>
            <a:off x="1028700" y="1609044"/>
            <a:ext cx="27572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Data</a:t>
            </a:r>
          </a:p>
          <a:p>
            <a:r>
              <a:rPr lang="en-US" dirty="0" err="1"/>
              <a:t>RealNews</a:t>
            </a:r>
            <a:r>
              <a:rPr lang="en-US" dirty="0"/>
              <a:t>-like subset of C4</a:t>
            </a:r>
            <a:endParaRPr lang="en-US" b="1" dirty="0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C333684-A384-760A-A1BD-206717D5A7DE}"/>
              </a:ext>
            </a:extLst>
          </p:cNvPr>
          <p:cNvGrpSpPr/>
          <p:nvPr/>
        </p:nvGrpSpPr>
        <p:grpSpPr>
          <a:xfrm>
            <a:off x="1028700" y="2606726"/>
            <a:ext cx="7153835" cy="2642229"/>
            <a:chOff x="4686300" y="3950250"/>
            <a:chExt cx="6540467" cy="2183850"/>
          </a:xfrm>
        </p:grpSpPr>
        <p:pic>
          <p:nvPicPr>
            <p:cNvPr id="7" name="Picture 6" descr="A screenshot of a math test&#10;&#10;Description automatically generated">
              <a:extLst>
                <a:ext uri="{FF2B5EF4-FFF2-40B4-BE49-F238E27FC236}">
                  <a16:creationId xmlns:a16="http://schemas.microsoft.com/office/drawing/2014/main" id="{85E1FB59-1379-839C-C439-5ECB1B35294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9964" t="30084" r="7720" b="8838"/>
            <a:stretch/>
          </p:blipFill>
          <p:spPr>
            <a:xfrm>
              <a:off x="4686300" y="3950250"/>
              <a:ext cx="6540467" cy="2183850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E760928-1F2D-36E9-B014-F2455B6120CC}"/>
                </a:ext>
              </a:extLst>
            </p:cNvPr>
            <p:cNvSpPr/>
            <p:nvPr/>
          </p:nvSpPr>
          <p:spPr>
            <a:xfrm>
              <a:off x="9567141" y="4582692"/>
              <a:ext cx="348852" cy="184180"/>
            </a:xfrm>
            <a:prstGeom prst="rect">
              <a:avLst/>
            </a:prstGeom>
            <a:solidFill>
              <a:srgbClr val="F6CBCD">
                <a:alpha val="40392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4D16E9A-910F-88F4-ABB0-2F30A574212E}"/>
                </a:ext>
              </a:extLst>
            </p:cNvPr>
            <p:cNvSpPr/>
            <p:nvPr/>
          </p:nvSpPr>
          <p:spPr>
            <a:xfrm>
              <a:off x="9567141" y="5896828"/>
              <a:ext cx="348852" cy="237271"/>
            </a:xfrm>
            <a:prstGeom prst="rect">
              <a:avLst/>
            </a:prstGeom>
            <a:solidFill>
              <a:srgbClr val="F6CBCD">
                <a:alpha val="40392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8BD9619A-C1A2-802D-B6FC-BEFE325D3DD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59860" y="1609044"/>
            <a:ext cx="3005806" cy="3040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631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5CB111A-D885-E9AA-28EB-E87BDD4834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98079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9C88FA-20CB-4FEB-3A4F-A6F1AF8E26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Finetuning 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A44298-0CF4-6413-437C-9CE7284B55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13</a:t>
            </a:fld>
            <a:endParaRPr lang="en-US"/>
          </a:p>
        </p:txBody>
      </p:sp>
      <p:pic>
        <p:nvPicPr>
          <p:cNvPr id="7" name="Picture 6" descr="A graph of a function&#10;&#10;Description automatically generated">
            <a:extLst>
              <a:ext uri="{FF2B5EF4-FFF2-40B4-BE49-F238E27FC236}">
                <a16:creationId xmlns:a16="http://schemas.microsoft.com/office/drawing/2014/main" id="{8534A28B-13D1-3956-70EF-3720DA12828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4594"/>
          <a:stretch/>
        </p:blipFill>
        <p:spPr>
          <a:xfrm>
            <a:off x="2965081" y="2182217"/>
            <a:ext cx="5613775" cy="266071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87CFAAB-2FBC-8367-A874-33FF791841B4}"/>
              </a:ext>
            </a:extLst>
          </p:cNvPr>
          <p:cNvSpPr/>
          <p:nvPr/>
        </p:nvSpPr>
        <p:spPr>
          <a:xfrm>
            <a:off x="3041981" y="2012389"/>
            <a:ext cx="2736057" cy="32550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01FE402-ACBF-3119-0167-B2E8BD85C69D}"/>
              </a:ext>
            </a:extLst>
          </p:cNvPr>
          <p:cNvSpPr/>
          <p:nvPr/>
        </p:nvSpPr>
        <p:spPr>
          <a:xfrm>
            <a:off x="5810418" y="2012389"/>
            <a:ext cx="2736057" cy="31945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574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8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CA32013-13B2-30B0-6825-A4BAABCFC0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1767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AEBF7E5-899C-3CE1-A68E-DCB0AA380A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Tiny Atten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AFCF6D-3DA6-6736-A109-2608B1FCD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14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62756E0-22BC-C851-D2BE-BD9A8189F340}"/>
              </a:ext>
            </a:extLst>
          </p:cNvPr>
          <p:cNvSpPr txBox="1"/>
          <p:nvPr/>
        </p:nvSpPr>
        <p:spPr>
          <a:xfrm>
            <a:off x="7094674" y="3746503"/>
            <a:ext cx="19511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1 head with size 64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9CA2402-AEFA-3F85-D1B8-976338D4FF42}"/>
              </a:ext>
            </a:extLst>
          </p:cNvPr>
          <p:cNvGrpSpPr/>
          <p:nvPr/>
        </p:nvGrpSpPr>
        <p:grpSpPr>
          <a:xfrm>
            <a:off x="2330888" y="1648868"/>
            <a:ext cx="4763786" cy="3725154"/>
            <a:chOff x="202285" y="1874919"/>
            <a:chExt cx="4763786" cy="3725154"/>
          </a:xfrm>
        </p:grpSpPr>
        <p:pic>
          <p:nvPicPr>
            <p:cNvPr id="11" name="Picture 10" descr="A diagram of a program code&#10;&#10;Description automatically generated">
              <a:extLst>
                <a:ext uri="{FF2B5EF4-FFF2-40B4-BE49-F238E27FC236}">
                  <a16:creationId xmlns:a16="http://schemas.microsoft.com/office/drawing/2014/main" id="{29DF2D00-4EA6-E58B-FEFB-FD12992CA80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02285" y="1874919"/>
              <a:ext cx="4395946" cy="3725154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D175E30-8951-D5DD-C13E-C0FD5E87E6F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4508" t="185" r="66080" b="26452"/>
            <a:stretch/>
          </p:blipFill>
          <p:spPr>
            <a:xfrm>
              <a:off x="2638268" y="2732243"/>
              <a:ext cx="2327803" cy="18622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806351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6AE9FBE-C965-54EC-F3C5-26D32A9347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139903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14FD587-0485-3F9D-A359-98B492FF81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Finetuning Results Again…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77B04E-F319-8412-7B98-0B5DDBA2CA55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570" b="19605"/>
          <a:stretch/>
        </p:blipFill>
        <p:spPr>
          <a:xfrm>
            <a:off x="2986256" y="2184708"/>
            <a:ext cx="6219487" cy="2660904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75A92A6-CBE0-F678-E18C-74548E92A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2143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3410C4E-48BA-2611-D213-C29D997BD7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52292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F924807D-3575-93EC-1A7F-3F9347F7A90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89150" b="2325"/>
          <a:stretch/>
        </p:blipFill>
        <p:spPr>
          <a:xfrm>
            <a:off x="1743612" y="5062820"/>
            <a:ext cx="8704775" cy="36979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086078-59E0-BBCD-4FF9-496286641E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Main result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925635C-33D6-C3CB-88D0-A731D581B31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913" b="10903"/>
          <a:stretch/>
        </p:blipFill>
        <p:spPr>
          <a:xfrm>
            <a:off x="1743612" y="1774715"/>
            <a:ext cx="8704775" cy="326120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F9C62C-5AA1-6B37-CE78-BDCE260659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16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EECA9FD-EFC6-8DD7-440F-4E91E321B80D}"/>
              </a:ext>
            </a:extLst>
          </p:cNvPr>
          <p:cNvSpPr/>
          <p:nvPr/>
        </p:nvSpPr>
        <p:spPr>
          <a:xfrm>
            <a:off x="3940668" y="4658590"/>
            <a:ext cx="393273" cy="213918"/>
          </a:xfrm>
          <a:prstGeom prst="rect">
            <a:avLst/>
          </a:prstGeom>
          <a:solidFill>
            <a:srgbClr val="F6CBCD">
              <a:alpha val="4039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BB1DA4D-21CD-8FB7-1209-8582342A77BE}"/>
              </a:ext>
            </a:extLst>
          </p:cNvPr>
          <p:cNvSpPr/>
          <p:nvPr/>
        </p:nvSpPr>
        <p:spPr>
          <a:xfrm>
            <a:off x="4908858" y="4658590"/>
            <a:ext cx="393273" cy="213918"/>
          </a:xfrm>
          <a:prstGeom prst="rect">
            <a:avLst/>
          </a:prstGeom>
          <a:solidFill>
            <a:srgbClr val="F6CBCD">
              <a:alpha val="4039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8D30AF-FFEE-F2D8-165D-667DC299B6B2}"/>
              </a:ext>
            </a:extLst>
          </p:cNvPr>
          <p:cNvSpPr/>
          <p:nvPr/>
        </p:nvSpPr>
        <p:spPr>
          <a:xfrm>
            <a:off x="5636804" y="4658590"/>
            <a:ext cx="797614" cy="213918"/>
          </a:xfrm>
          <a:prstGeom prst="rect">
            <a:avLst/>
          </a:prstGeom>
          <a:solidFill>
            <a:srgbClr val="F6CBCD">
              <a:alpha val="4039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34B8890-0A48-7F6E-3491-FAF0DF6C2171}"/>
              </a:ext>
            </a:extLst>
          </p:cNvPr>
          <p:cNvSpPr/>
          <p:nvPr/>
        </p:nvSpPr>
        <p:spPr>
          <a:xfrm>
            <a:off x="6672230" y="4658590"/>
            <a:ext cx="393273" cy="213918"/>
          </a:xfrm>
          <a:prstGeom prst="rect">
            <a:avLst/>
          </a:prstGeom>
          <a:solidFill>
            <a:srgbClr val="F6CBCD">
              <a:alpha val="4039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28FFD03-F0A1-1731-23ED-FC121CE9DBB8}"/>
              </a:ext>
            </a:extLst>
          </p:cNvPr>
          <p:cNvSpPr/>
          <p:nvPr/>
        </p:nvSpPr>
        <p:spPr>
          <a:xfrm>
            <a:off x="7303315" y="4658913"/>
            <a:ext cx="393273" cy="213918"/>
          </a:xfrm>
          <a:prstGeom prst="rect">
            <a:avLst/>
          </a:prstGeom>
          <a:solidFill>
            <a:srgbClr val="F6CBCD">
              <a:alpha val="4039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BA43B15-A2CF-B09D-B183-E417042DC419}"/>
              </a:ext>
            </a:extLst>
          </p:cNvPr>
          <p:cNvSpPr/>
          <p:nvPr/>
        </p:nvSpPr>
        <p:spPr>
          <a:xfrm>
            <a:off x="4908858" y="4414719"/>
            <a:ext cx="393273" cy="213918"/>
          </a:xfrm>
          <a:prstGeom prst="rect">
            <a:avLst/>
          </a:prstGeom>
          <a:solidFill>
            <a:srgbClr val="F6CBCD">
              <a:alpha val="4039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3D9970-4B0D-F0CA-8E4A-9CF12DC9EC16}"/>
              </a:ext>
            </a:extLst>
          </p:cNvPr>
          <p:cNvSpPr/>
          <p:nvPr/>
        </p:nvSpPr>
        <p:spPr>
          <a:xfrm rot="19427906">
            <a:off x="2480106" y="3287805"/>
            <a:ext cx="6313394" cy="63873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ncrease model size !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D91F5F5-8176-CD0E-0865-56A629C8216A}"/>
              </a:ext>
            </a:extLst>
          </p:cNvPr>
          <p:cNvSpPr/>
          <p:nvPr/>
        </p:nvSpPr>
        <p:spPr>
          <a:xfrm>
            <a:off x="2578717" y="3287805"/>
            <a:ext cx="6313394" cy="638736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d some attention !</a:t>
            </a:r>
          </a:p>
        </p:txBody>
      </p:sp>
    </p:spTree>
    <p:extLst>
      <p:ext uri="{BB962C8B-B14F-4D97-AF65-F5344CB8AC3E}">
        <p14:creationId xmlns:p14="http://schemas.microsoft.com/office/powerpoint/2010/main" val="3781414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42" presetClass="path" presetSubtype="0" accel="50000" decel="5000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2.59259E-6 L -2.91667E-6 0.06203 " pathEditMode="relative" rAng="0" ptsTypes="AA">
                                      <p:cBhvr>
                                        <p:cTn id="1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02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2.59259E-6 L 0 0.06203 " pathEditMode="relative" rAng="0" ptsTypes="AA">
                                      <p:cBhvr>
                                        <p:cTn id="1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02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74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1" animBg="1"/>
      <p:bldP spid="6" grpId="1" animBg="1"/>
      <p:bldP spid="13" grpId="0" animBg="1"/>
      <p:bldP spid="14" grpId="0" animBg="1"/>
      <p:bldP spid="15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E385C63-1422-FEE9-1BFC-6CF6DC68ED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10276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C4F2937-13F7-E072-5EFB-F555940384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723900"/>
            <a:ext cx="10134600" cy="764443"/>
          </a:xfrm>
        </p:spPr>
        <p:txBody>
          <a:bodyPr vert="horz" anchor="t"/>
          <a:lstStyle/>
          <a:p>
            <a:r>
              <a:rPr lang="en-US" dirty="0"/>
              <a:t>Related wor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69EAED-C1AF-8097-1990-0ECCE4D68B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17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7A3DE42-95EF-7358-E0D9-FF400A676BD4}"/>
              </a:ext>
            </a:extLst>
          </p:cNvPr>
          <p:cNvSpPr txBox="1"/>
          <p:nvPr/>
        </p:nvSpPr>
        <p:spPr>
          <a:xfrm>
            <a:off x="1028700" y="3429000"/>
            <a:ext cx="417986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i="1"/>
            </a:lvl1pPr>
          </a:lstStyle>
          <a:p>
            <a:r>
              <a:rPr lang="en-US" dirty="0"/>
              <a:t>Ilya </a:t>
            </a:r>
            <a:r>
              <a:rPr lang="en-US" dirty="0" err="1"/>
              <a:t>Tolstikhin</a:t>
            </a:r>
            <a:r>
              <a:rPr lang="en-US" dirty="0"/>
              <a:t> et al. (2021). </a:t>
            </a:r>
          </a:p>
          <a:p>
            <a:r>
              <a:rPr lang="en-US" i="0" dirty="0"/>
              <a:t>MLP-Mixer: An all-MLP Architecture for Vision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1A75171-B38A-0964-FC60-F5164B8B73EA}"/>
              </a:ext>
            </a:extLst>
          </p:cNvPr>
          <p:cNvSpPr txBox="1"/>
          <p:nvPr/>
        </p:nvSpPr>
        <p:spPr>
          <a:xfrm>
            <a:off x="1028700" y="4286902"/>
            <a:ext cx="268580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 i="1"/>
            </a:lvl1pPr>
          </a:lstStyle>
          <a:p>
            <a:r>
              <a:rPr lang="en-US" dirty="0" err="1"/>
              <a:t>Junxiong</a:t>
            </a:r>
            <a:r>
              <a:rPr lang="en-US" dirty="0"/>
              <a:t> Wang et al. (2023). </a:t>
            </a:r>
          </a:p>
          <a:p>
            <a:r>
              <a:rPr lang="en-US" i="0" dirty="0"/>
              <a:t>Pretraining Without Attention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7EF5099-477A-21E7-B292-7AE7B607DACC}"/>
              </a:ext>
            </a:extLst>
          </p:cNvPr>
          <p:cNvSpPr txBox="1"/>
          <p:nvPr/>
        </p:nvSpPr>
        <p:spPr>
          <a:xfrm>
            <a:off x="6096000" y="3429000"/>
            <a:ext cx="609719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i="1" dirty="0"/>
              <a:t>James Lee-Thorp et al. (2022). </a:t>
            </a:r>
          </a:p>
          <a:p>
            <a:r>
              <a:rPr lang="en-US" sz="1600" dirty="0" err="1"/>
              <a:t>FNet</a:t>
            </a:r>
            <a:r>
              <a:rPr lang="en-US" sz="1600" dirty="0"/>
              <a:t>: Mixing Tokens with Fourier Transforms.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35EFA7F-49A7-27DB-4131-1677689A913C}"/>
              </a:ext>
            </a:extLst>
          </p:cNvPr>
          <p:cNvGrpSpPr/>
          <p:nvPr/>
        </p:nvGrpSpPr>
        <p:grpSpPr>
          <a:xfrm>
            <a:off x="1028700" y="2065564"/>
            <a:ext cx="10497669" cy="584775"/>
            <a:chOff x="1028700" y="2065564"/>
            <a:chExt cx="10497669" cy="584775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FC32FEB-8D3E-9D5B-41DA-D758D515B71E}"/>
                </a:ext>
              </a:extLst>
            </p:cNvPr>
            <p:cNvSpPr txBox="1"/>
            <p:nvPr/>
          </p:nvSpPr>
          <p:spPr>
            <a:xfrm>
              <a:off x="1028700" y="2065564"/>
              <a:ext cx="4920963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i="1" dirty="0"/>
                <a:t>Yann N. Dauphin et al. (2017). </a:t>
              </a:r>
            </a:p>
            <a:p>
              <a:r>
                <a:rPr lang="en-US" sz="1600" dirty="0"/>
                <a:t>Language Modeling with Gated Convolutional Networks.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446A9DE-8E5D-64B5-3DFC-0AE6BF82E66C}"/>
                </a:ext>
              </a:extLst>
            </p:cNvPr>
            <p:cNvSpPr txBox="1"/>
            <p:nvPr/>
          </p:nvSpPr>
          <p:spPr>
            <a:xfrm>
              <a:off x="6096000" y="2065564"/>
              <a:ext cx="5430369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600" i="1" dirty="0" err="1"/>
                <a:t>Hochreiter</a:t>
              </a:r>
              <a:r>
                <a:rPr lang="en-US" sz="1600" i="1" dirty="0"/>
                <a:t>, S. and </a:t>
              </a:r>
              <a:r>
                <a:rPr lang="en-US" sz="1600" i="1" dirty="0" err="1"/>
                <a:t>Schmidhuber</a:t>
              </a:r>
              <a:r>
                <a:rPr lang="en-US" sz="1600" i="1" dirty="0"/>
                <a:t>, J. (1997). </a:t>
              </a:r>
            </a:p>
            <a:p>
              <a:r>
                <a:rPr lang="en-US" sz="1600" dirty="0"/>
                <a:t>Long Short-term Memory. Neural computation, 9, 1735-80.</a:t>
              </a: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ECDBEC7D-492C-6689-50C1-19EA8683E364}"/>
              </a:ext>
            </a:extLst>
          </p:cNvPr>
          <p:cNvSpPr txBox="1"/>
          <p:nvPr/>
        </p:nvSpPr>
        <p:spPr>
          <a:xfrm>
            <a:off x="5044928" y="1488343"/>
            <a:ext cx="18094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Gating techniqu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F7278FB-5523-31AB-41B2-F088531C923B}"/>
              </a:ext>
            </a:extLst>
          </p:cNvPr>
          <p:cNvSpPr txBox="1"/>
          <p:nvPr/>
        </p:nvSpPr>
        <p:spPr>
          <a:xfrm>
            <a:off x="5028945" y="2943351"/>
            <a:ext cx="213411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Attention alternativ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FD17287-6FFD-B89F-5467-3849871424F1}"/>
              </a:ext>
            </a:extLst>
          </p:cNvPr>
          <p:cNvSpPr txBox="1"/>
          <p:nvPr/>
        </p:nvSpPr>
        <p:spPr>
          <a:xfrm>
            <a:off x="3623620" y="5292726"/>
            <a:ext cx="465208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1600" i="1" dirty="0"/>
              <a:t>Daniel Y. Fu et al. (2023). </a:t>
            </a:r>
          </a:p>
          <a:p>
            <a:pPr algn="l"/>
            <a:r>
              <a:rPr lang="en-US" sz="1600" dirty="0"/>
              <a:t>Hungry Hungry Hippos: Towards Language Modeling with State Space Models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1E82ECB-1567-5918-E5B6-2F8FC3F99CF1}"/>
              </a:ext>
            </a:extLst>
          </p:cNvPr>
          <p:cNvSpPr txBox="1"/>
          <p:nvPr/>
        </p:nvSpPr>
        <p:spPr>
          <a:xfrm>
            <a:off x="5344736" y="4923394"/>
            <a:ext cx="15025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/>
              <a:t>Tiny attention</a:t>
            </a:r>
          </a:p>
        </p:txBody>
      </p:sp>
    </p:spTree>
    <p:extLst>
      <p:ext uri="{BB962C8B-B14F-4D97-AF65-F5344CB8AC3E}">
        <p14:creationId xmlns:p14="http://schemas.microsoft.com/office/powerpoint/2010/main" val="67164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23" grpId="0"/>
      <p:bldP spid="25" grpId="0"/>
      <p:bldP spid="9" grpId="0"/>
      <p:bldP spid="15" grpId="0"/>
      <p:bldP spid="1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8E9310A-8F62-4AC1-E8BA-F35645EAE4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602883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63B0704-BE0C-5F0A-6237-0D8974A700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How did I like the paper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8B2CF8-2C92-F608-5599-332222051B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18</a:t>
            </a:fld>
            <a:endParaRPr lang="en-US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9155E12-3F47-0A11-C081-41B85D43006E}"/>
              </a:ext>
            </a:extLst>
          </p:cNvPr>
          <p:cNvGrpSpPr/>
          <p:nvPr/>
        </p:nvGrpSpPr>
        <p:grpSpPr>
          <a:xfrm>
            <a:off x="2104465" y="2058174"/>
            <a:ext cx="7475970" cy="2741652"/>
            <a:chOff x="2104465" y="1555189"/>
            <a:chExt cx="7475970" cy="2741652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F8E378DF-CFB3-C67B-E82E-BAEA6B086A7E}"/>
                </a:ext>
              </a:extLst>
            </p:cNvPr>
            <p:cNvGrpSpPr/>
            <p:nvPr/>
          </p:nvGrpSpPr>
          <p:grpSpPr>
            <a:xfrm>
              <a:off x="2104465" y="2561159"/>
              <a:ext cx="7475970" cy="1735682"/>
              <a:chOff x="1975878" y="2657160"/>
              <a:chExt cx="7475970" cy="1735682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7C5C2C59-32CB-9564-A272-5C110D740094}"/>
                  </a:ext>
                </a:extLst>
              </p:cNvPr>
              <p:cNvSpPr txBox="1"/>
              <p:nvPr/>
            </p:nvSpPr>
            <p:spPr>
              <a:xfrm>
                <a:off x="1975878" y="2659675"/>
                <a:ext cx="3691497" cy="1733167"/>
              </a:xfrm>
              <a:prstGeom prst="rect">
                <a:avLst/>
              </a:prstGeom>
              <a:noFill/>
              <a:ln w="38100">
                <a:solidFill>
                  <a:schemeClr val="accent3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dirty="0"/>
                  <a:t>Well structured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2000" dirty="0"/>
                  <a:t>Describes setup understandably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2000" dirty="0"/>
                  <a:t>Broad application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2000" dirty="0"/>
                  <a:t>Considers attention</a:t>
                </a:r>
              </a:p>
            </p:txBody>
          </p:sp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9AB689DB-6EA5-B171-F489-4D840C678FEF}"/>
                  </a:ext>
                </a:extLst>
              </p:cNvPr>
              <p:cNvSpPr txBox="1"/>
              <p:nvPr/>
            </p:nvSpPr>
            <p:spPr>
              <a:xfrm>
                <a:off x="6096000" y="2657160"/>
                <a:ext cx="3355848" cy="1723549"/>
              </a:xfrm>
              <a:prstGeom prst="rect">
                <a:avLst/>
              </a:prstGeom>
              <a:noFill/>
              <a:ln w="38100">
                <a:solidFill>
                  <a:srgbClr val="EC808C"/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285750" indent="-285750">
                  <a:buFont typeface="Arial" panose="020B0604020202020204" pitchFamily="34" charset="0"/>
                  <a:buChar char="•"/>
                </a:pPr>
                <a:r>
                  <a:rPr lang="en-US" sz="2000" dirty="0"/>
                  <a:t>Unexplained abbreviations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2000" dirty="0"/>
                  <a:t>Advantages?</a:t>
                </a:r>
              </a:p>
              <a:p>
                <a:pPr marL="285750" indent="-285750">
                  <a:lnSpc>
                    <a:spcPct val="150000"/>
                  </a:lnSpc>
                  <a:buFont typeface="Arial" panose="020B0604020202020204" pitchFamily="34" charset="0"/>
                  <a:buChar char="•"/>
                </a:pPr>
                <a:r>
                  <a:rPr lang="en-US" sz="2000" dirty="0"/>
                  <a:t>many references regarding</a:t>
                </a:r>
              </a:p>
              <a:p>
                <a:r>
                  <a:rPr lang="en-US" sz="2000" dirty="0"/>
                  <a:t>    the setup</a:t>
                </a:r>
              </a:p>
              <a:p>
                <a:endParaRPr lang="en-US" sz="600" dirty="0"/>
              </a:p>
            </p:txBody>
          </p:sp>
        </p:grpSp>
        <p:pic>
          <p:nvPicPr>
            <p:cNvPr id="19" name="Graphic 18" descr="Smiling face outline outline">
              <a:extLst>
                <a:ext uri="{FF2B5EF4-FFF2-40B4-BE49-F238E27FC236}">
                  <a16:creationId xmlns:a16="http://schemas.microsoft.com/office/drawing/2014/main" id="{7DC0D367-448C-5345-A1CB-1545C753B20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93013" y="1559964"/>
              <a:ext cx="914400" cy="914400"/>
            </a:xfrm>
            <a:prstGeom prst="rect">
              <a:avLst/>
            </a:prstGeom>
          </p:spPr>
        </p:pic>
        <p:pic>
          <p:nvPicPr>
            <p:cNvPr id="21" name="Graphic 20" descr="Sad face outline outline">
              <a:extLst>
                <a:ext uri="{FF2B5EF4-FFF2-40B4-BE49-F238E27FC236}">
                  <a16:creationId xmlns:a16="http://schemas.microsoft.com/office/drawing/2014/main" id="{68831596-0F4C-B432-2775-EEE228BC3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445311" y="1555189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784344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EB41DDE-B220-4BCE-0164-C3B1400CCC7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103752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24FAD95-DB72-CBE1-9179-08EE4FABD9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Summ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DDA3554-5191-9E75-24A7-95420E52AD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19</a:t>
            </a:fld>
            <a:endParaRPr lang="en-US"/>
          </a:p>
        </p:txBody>
      </p:sp>
      <p:sp>
        <p:nvSpPr>
          <p:cNvPr id="6" name="Folded Corner 5">
            <a:extLst>
              <a:ext uri="{FF2B5EF4-FFF2-40B4-BE49-F238E27FC236}">
                <a16:creationId xmlns:a16="http://schemas.microsoft.com/office/drawing/2014/main" id="{AD032BA1-534C-66F0-71EE-649EE0CC55C5}"/>
              </a:ext>
            </a:extLst>
          </p:cNvPr>
          <p:cNvSpPr/>
          <p:nvPr/>
        </p:nvSpPr>
        <p:spPr>
          <a:xfrm>
            <a:off x="1028700" y="1678641"/>
            <a:ext cx="3601570" cy="1288489"/>
          </a:xfrm>
          <a:prstGeom prst="foldedCorner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Image classification</a:t>
            </a:r>
          </a:p>
          <a:p>
            <a:pPr algn="ctr"/>
            <a:endParaRPr lang="en-US" dirty="0"/>
          </a:p>
          <a:p>
            <a:pPr algn="ctr"/>
            <a:r>
              <a:rPr lang="en-US" dirty="0" err="1"/>
              <a:t>gMLP</a:t>
            </a:r>
            <a:r>
              <a:rPr lang="en-US" dirty="0"/>
              <a:t> as good as Transformers</a:t>
            </a:r>
          </a:p>
        </p:txBody>
      </p:sp>
      <p:sp>
        <p:nvSpPr>
          <p:cNvPr id="8" name="Folded Corner 7">
            <a:extLst>
              <a:ext uri="{FF2B5EF4-FFF2-40B4-BE49-F238E27FC236}">
                <a16:creationId xmlns:a16="http://schemas.microsoft.com/office/drawing/2014/main" id="{41B1F863-9E82-0A17-DA3B-C9B3B99E6F91}"/>
              </a:ext>
            </a:extLst>
          </p:cNvPr>
          <p:cNvSpPr/>
          <p:nvPr/>
        </p:nvSpPr>
        <p:spPr>
          <a:xfrm>
            <a:off x="6488205" y="3745005"/>
            <a:ext cx="3601571" cy="2097741"/>
          </a:xfrm>
          <a:prstGeom prst="foldedCorner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NLP tasks</a:t>
            </a:r>
          </a:p>
          <a:p>
            <a:pPr algn="ctr"/>
            <a:endParaRPr lang="en-US" dirty="0"/>
          </a:p>
          <a:p>
            <a:pPr algn="ctr"/>
            <a:r>
              <a:rPr lang="en-US" dirty="0"/>
              <a:t>For outperforming transformers: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dirty="0"/>
              <a:t>Increase model size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US" dirty="0"/>
              <a:t>Add attention</a:t>
            </a:r>
          </a:p>
        </p:txBody>
      </p:sp>
      <p:sp>
        <p:nvSpPr>
          <p:cNvPr id="11" name="Folded Corner 10">
            <a:extLst>
              <a:ext uri="{FF2B5EF4-FFF2-40B4-BE49-F238E27FC236}">
                <a16:creationId xmlns:a16="http://schemas.microsoft.com/office/drawing/2014/main" id="{541A5DEA-5C7D-86F0-3E41-7043A72ADDF0}"/>
              </a:ext>
            </a:extLst>
          </p:cNvPr>
          <p:cNvSpPr/>
          <p:nvPr/>
        </p:nvSpPr>
        <p:spPr>
          <a:xfrm>
            <a:off x="1028700" y="4295685"/>
            <a:ext cx="3601570" cy="602501"/>
          </a:xfrm>
          <a:prstGeom prst="foldedCorner">
            <a:avLst/>
          </a:prstGeom>
          <a:solidFill>
            <a:srgbClr val="FFFF00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Perplexity is defined by model size</a:t>
            </a:r>
          </a:p>
        </p:txBody>
      </p:sp>
      <p:sp>
        <p:nvSpPr>
          <p:cNvPr id="12" name="Folded Corner 11">
            <a:extLst>
              <a:ext uri="{FF2B5EF4-FFF2-40B4-BE49-F238E27FC236}">
                <a16:creationId xmlns:a16="http://schemas.microsoft.com/office/drawing/2014/main" id="{20238084-9DFE-C683-E630-EF9E8721931E}"/>
              </a:ext>
            </a:extLst>
          </p:cNvPr>
          <p:cNvSpPr/>
          <p:nvPr/>
        </p:nvSpPr>
        <p:spPr>
          <a:xfrm>
            <a:off x="6485966" y="1855694"/>
            <a:ext cx="3601570" cy="830261"/>
          </a:xfrm>
          <a:prstGeom prst="foldedCorner">
            <a:avLst/>
          </a:prstGeom>
          <a:solidFill>
            <a:srgbClr val="FFFF00"/>
          </a:solidFill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Self-attention not necessary</a:t>
            </a:r>
          </a:p>
          <a:p>
            <a:pPr algn="ctr"/>
            <a:r>
              <a:rPr lang="en-US" dirty="0">
                <a:solidFill>
                  <a:sysClr val="windowText" lastClr="000000"/>
                </a:solidFill>
              </a:rPr>
              <a:t>But very helpful       </a:t>
            </a:r>
          </a:p>
        </p:txBody>
      </p:sp>
    </p:spTree>
    <p:extLst>
      <p:ext uri="{BB962C8B-B14F-4D97-AF65-F5344CB8AC3E}">
        <p14:creationId xmlns:p14="http://schemas.microsoft.com/office/powerpoint/2010/main" val="3975230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AEC724F-69A6-96CE-354C-12A8507F51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967057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9705C7-0A45-D1B3-6AE0-0768BEEE2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2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FBD0509-3F8F-C07F-1691-322AAFF44D9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25456" y="444500"/>
            <a:ext cx="4013200" cy="56896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50E1390-B041-9C4A-6CCE-F0DE847F3A5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01555" y="2291789"/>
            <a:ext cx="2209800" cy="3048000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B0195F6-A5BC-F93A-959C-D1A13F14434D}"/>
              </a:ext>
            </a:extLst>
          </p:cNvPr>
          <p:cNvCxnSpPr/>
          <p:nvPr/>
        </p:nvCxnSpPr>
        <p:spPr>
          <a:xfrm flipH="1" flipV="1">
            <a:off x="6315075" y="2957513"/>
            <a:ext cx="1414463" cy="858276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45C3FC4-D78B-A92F-A161-691D7D19B969}"/>
              </a:ext>
            </a:extLst>
          </p:cNvPr>
          <p:cNvCxnSpPr>
            <a:cxnSpLocks/>
          </p:cNvCxnSpPr>
          <p:nvPr/>
        </p:nvCxnSpPr>
        <p:spPr>
          <a:xfrm flipH="1">
            <a:off x="6315074" y="4210051"/>
            <a:ext cx="1414463" cy="858276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BB78197B-A3A1-999B-7E99-F7BAE5A695E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18072" y="2406089"/>
            <a:ext cx="2159000" cy="2819400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D09F30F-BE03-ED72-64CA-870FE55D7256}"/>
              </a:ext>
            </a:extLst>
          </p:cNvPr>
          <p:cNvCxnSpPr>
            <a:cxnSpLocks/>
          </p:cNvCxnSpPr>
          <p:nvPr/>
        </p:nvCxnSpPr>
        <p:spPr>
          <a:xfrm flipH="1" flipV="1">
            <a:off x="3564731" y="3114675"/>
            <a:ext cx="1100534" cy="628650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94B0DAF-95A1-D0AA-F1B1-482C6464CFF1}"/>
              </a:ext>
            </a:extLst>
          </p:cNvPr>
          <p:cNvCxnSpPr>
            <a:cxnSpLocks/>
          </p:cNvCxnSpPr>
          <p:nvPr/>
        </p:nvCxnSpPr>
        <p:spPr>
          <a:xfrm flipH="1">
            <a:off x="3528218" y="4094629"/>
            <a:ext cx="1137047" cy="671046"/>
          </a:xfrm>
          <a:prstGeom prst="line">
            <a:avLst/>
          </a:prstGeom>
          <a:ln w="19050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5BCB72E-4BC0-5D86-30BD-7D20BF6F2B53}"/>
              </a:ext>
            </a:extLst>
          </p:cNvPr>
          <p:cNvGrpSpPr/>
          <p:nvPr/>
        </p:nvGrpSpPr>
        <p:grpSpPr>
          <a:xfrm>
            <a:off x="1545787" y="670672"/>
            <a:ext cx="2599301" cy="1384113"/>
            <a:chOff x="1561560" y="466694"/>
            <a:chExt cx="2599301" cy="1384113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140AC8E8-4C43-4435-4268-200888DC00B0}"/>
                </a:ext>
              </a:extLst>
            </p:cNvPr>
            <p:cNvGrpSpPr/>
            <p:nvPr/>
          </p:nvGrpSpPr>
          <p:grpSpPr>
            <a:xfrm>
              <a:off x="1860455" y="844867"/>
              <a:ext cx="2001510" cy="1005940"/>
              <a:chOff x="2345647" y="773262"/>
              <a:chExt cx="2001510" cy="1005940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5BDBA3A4-905E-D803-A6D7-59D1DB2DC25A}"/>
                  </a:ext>
                </a:extLst>
              </p:cNvPr>
              <p:cNvSpPr txBox="1"/>
              <p:nvPr/>
            </p:nvSpPr>
            <p:spPr>
              <a:xfrm>
                <a:off x="2345647" y="1440648"/>
                <a:ext cx="2001510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dirty="0"/>
                  <a:t>K:      What a nice day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B52CF24-1010-1A1A-F9B0-B0282FA83783}"/>
                  </a:ext>
                </a:extLst>
              </p:cNvPr>
              <p:cNvSpPr txBox="1"/>
              <p:nvPr/>
            </p:nvSpPr>
            <p:spPr>
              <a:xfrm>
                <a:off x="2900062" y="773262"/>
                <a:ext cx="1012137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dirty="0"/>
                  <a:t>Q:     nice</a:t>
                </a:r>
              </a:p>
            </p:txBody>
          </p: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CF67F275-12DB-2378-8F58-4E2AA623930D}"/>
                  </a:ext>
                </a:extLst>
              </p:cNvPr>
              <p:cNvCxnSpPr/>
              <p:nvPr/>
            </p:nvCxnSpPr>
            <p:spPr>
              <a:xfrm flipV="1">
                <a:off x="3314700" y="1082488"/>
                <a:ext cx="250031" cy="35816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D2B53E9D-201C-14B6-BECE-7FA5B27DB39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506383" y="1062803"/>
                <a:ext cx="129036" cy="46703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0178DC1C-9AEA-8A10-2934-654679A5A5DD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710737" y="1062803"/>
                <a:ext cx="98378" cy="46703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92F71D4A-2038-7D90-D44D-0FF394C23DF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3756414" y="1072645"/>
                <a:ext cx="269886" cy="40850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01B51F9-BCFB-FC48-1426-2868CA34E920}"/>
                </a:ext>
              </a:extLst>
            </p:cNvPr>
            <p:cNvSpPr txBox="1"/>
            <p:nvPr/>
          </p:nvSpPr>
          <p:spPr>
            <a:xfrm>
              <a:off x="1561560" y="466694"/>
              <a:ext cx="25993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/>
                <a:t>Example</a:t>
              </a:r>
              <a:r>
                <a:rPr lang="en-US" dirty="0"/>
                <a:t>  What a nice da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864533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9" presetClass="emph" presetSubtype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indefinite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3" dur="indefinite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indefinite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6" dur="indefinite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9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2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indefinite"/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5" dur="indefinite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8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1EB5B3B-0C38-6D12-C767-686B37EAE0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163595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0F6961-8B8D-0CDB-A025-5B11DACDA9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Thank you!!!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77F2875-5A51-7699-C9C2-40512FBF4DA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5A82555-A6FA-0AE5-FEDA-4B1BAB8542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08240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151BBE6-F14B-C764-6A20-B81342A9DA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962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5CDB48E-2C19-27FE-F4D7-C065954B8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SST-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DE9F7B-A564-13EB-6BB6-8424284363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nford sentiment treebank: binary classification</a:t>
            </a:r>
          </a:p>
          <a:p>
            <a:endParaRPr lang="en-US" dirty="0"/>
          </a:p>
          <a:p>
            <a:r>
              <a:rPr lang="en-US" dirty="0"/>
              <a:t>This is an amazing holiday =&gt; positive</a:t>
            </a:r>
          </a:p>
          <a:p>
            <a:r>
              <a:rPr lang="en-US" dirty="0"/>
              <a:t>I hate sleep =&gt; neg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5F3A7E-B2B4-075A-E37D-A0185776F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6739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CBED27A-0852-FC1B-7F3F-3CD1510FDA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34614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DBA4686-E5F9-FD9F-03D4-65D0DBDE9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MNLI-m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97930B-1FB3-6226-6BDD-C40AAB8CE1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8700" y="2012389"/>
            <a:ext cx="10134600" cy="501784"/>
          </a:xfrm>
        </p:spPr>
        <p:txBody>
          <a:bodyPr>
            <a:normAutofit/>
          </a:bodyPr>
          <a:lstStyle/>
          <a:p>
            <a:r>
              <a:rPr lang="en-US" sz="1600" dirty="0"/>
              <a:t>Multi-Genre Natural Language Inference-matched</a:t>
            </a:r>
          </a:p>
          <a:p>
            <a:endParaRPr lang="en-US" sz="1600" dirty="0"/>
          </a:p>
          <a:p>
            <a:endParaRPr lang="en-US" sz="1600" dirty="0"/>
          </a:p>
          <a:p>
            <a:endParaRPr lang="en-US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94D2FA-B019-B7DE-2421-0EF438155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22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542BF45-05FE-1F9E-0B18-1EAF84A125D9}"/>
              </a:ext>
            </a:extLst>
          </p:cNvPr>
          <p:cNvSpPr txBox="1"/>
          <p:nvPr/>
        </p:nvSpPr>
        <p:spPr>
          <a:xfrm>
            <a:off x="1028700" y="2905754"/>
            <a:ext cx="910424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mise:  It is dry outside.</a:t>
            </a:r>
          </a:p>
          <a:p>
            <a:endParaRPr lang="en-US" dirty="0"/>
          </a:p>
          <a:p>
            <a:r>
              <a:rPr lang="en-US" dirty="0"/>
              <a:t>Hypothesis: It is raining.</a:t>
            </a:r>
          </a:p>
          <a:p>
            <a:pPr marL="342900" indent="-342900">
              <a:buFont typeface="Symbol" pitchFamily="2" charset="2"/>
              <a:buChar char="Þ"/>
            </a:pPr>
            <a:r>
              <a:rPr lang="en-US" dirty="0"/>
              <a:t>Contradiction</a:t>
            </a:r>
          </a:p>
          <a:p>
            <a:pPr marL="342900" indent="-342900">
              <a:buFont typeface="Symbol" pitchFamily="2" charset="2"/>
              <a:buChar char="Þ"/>
            </a:pPr>
            <a:endParaRPr lang="en-US" dirty="0"/>
          </a:p>
          <a:p>
            <a:r>
              <a:rPr lang="en-US" dirty="0"/>
              <a:t>Hypothesis: It is sunny.</a:t>
            </a:r>
          </a:p>
          <a:p>
            <a:pPr marL="342900" indent="-342900">
              <a:buFont typeface="Symbol" pitchFamily="2" charset="2"/>
              <a:buChar char="Þ"/>
            </a:pPr>
            <a:r>
              <a:rPr lang="en-US" dirty="0"/>
              <a:t>Neutral</a:t>
            </a:r>
          </a:p>
          <a:p>
            <a:endParaRPr lang="en-US" dirty="0"/>
          </a:p>
          <a:p>
            <a:r>
              <a:rPr lang="en-US" dirty="0"/>
              <a:t>Hypothesis: I don’t need an umbrella.</a:t>
            </a:r>
          </a:p>
          <a:p>
            <a:r>
              <a:rPr lang="en-US" dirty="0"/>
              <a:t>=&gt; Entailment: Reasonable conclus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14004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1566736-90E5-13FA-1FFC-3BC2B95053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928129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5B0EF8D-16DD-6EEF-46E5-884CE5F7B1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SQuAD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CF95D5-0487-7E60-2E6F-9DABC6E3792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Stanford Question Answering Dataset</a:t>
            </a:r>
          </a:p>
          <a:p>
            <a:endParaRPr lang="en-US" dirty="0"/>
          </a:p>
          <a:p>
            <a:r>
              <a:rPr lang="en-US" dirty="0"/>
              <a:t>Info: “The grey elephant is 34 kg and was walking around.</a:t>
            </a:r>
          </a:p>
          <a:p>
            <a:r>
              <a:rPr lang="en-US" dirty="0"/>
              <a:t>Question </a:t>
            </a:r>
            <a:r>
              <a:rPr lang="en-US" b="1" dirty="0"/>
              <a:t>V1.1</a:t>
            </a:r>
            <a:r>
              <a:rPr lang="en-US" dirty="0"/>
              <a:t>: “What was the grey elephant doing?” </a:t>
            </a:r>
          </a:p>
          <a:p>
            <a:pPr marL="342900" indent="-342900">
              <a:buFont typeface="Symbol" pitchFamily="2" charset="2"/>
              <a:buChar char="Þ"/>
            </a:pPr>
            <a:r>
              <a:rPr lang="en-US" dirty="0"/>
              <a:t>Walking around.</a:t>
            </a:r>
          </a:p>
          <a:p>
            <a:r>
              <a:rPr lang="en-US" dirty="0"/>
              <a:t>Question </a:t>
            </a:r>
            <a:r>
              <a:rPr lang="en-US" b="1" dirty="0"/>
              <a:t>V2.0</a:t>
            </a:r>
            <a:r>
              <a:rPr lang="en-US" dirty="0"/>
              <a:t>: “How old is the elephant?” </a:t>
            </a:r>
          </a:p>
          <a:p>
            <a:pPr marL="342900" marR="0" lvl="0" indent="-3429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Symbol" pitchFamily="2" charset="2"/>
              <a:buChar char="Þ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73545"/>
                </a:solidFill>
                <a:effectLst/>
                <a:uLnTx/>
                <a:uFillTx/>
                <a:latin typeface="Bembo"/>
                <a:ea typeface="+mn-ea"/>
                <a:cs typeface="+mn-cs"/>
              </a:rPr>
              <a:t>I don’t know.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37218A-C53C-30F5-36B9-1DAF8C357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17939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E579831-2658-530C-C41F-6744CBD58C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58428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5603727-E8E0-2AAC-7405-FF0B849E73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Finetuning results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7E763B-6AB0-9076-79D9-91BC3D7B4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24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CA4B93-D54F-1855-C924-DF15CFBCB1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51269" y="2438676"/>
            <a:ext cx="6899966" cy="31856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50469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249163-055F-B2B8-23D9-EE4BD19790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err="1"/>
              <a:t>gMLP</a:t>
            </a:r>
            <a:r>
              <a:rPr lang="en-US" dirty="0"/>
              <a:t> specific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4E8DB7-9C36-634E-18E6-5851BD43B7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pply strength of stochastic depths for increasing model siz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9E1DEC-D593-BA45-5315-2F70CDA43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25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6595616-8E0E-6EFF-8810-CAB1A58861D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41554" y="2637693"/>
            <a:ext cx="8108892" cy="1582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44569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3CD014A-D3C3-8376-1B20-02736FB3C0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09905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3D11C1-4B89-E5FF-3E51-F6E016C7AA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28700" y="651154"/>
            <a:ext cx="10134600" cy="5709889"/>
          </a:xfrm>
        </p:spPr>
        <p:txBody>
          <a:bodyPr/>
          <a:lstStyle/>
          <a:p>
            <a:r>
              <a:rPr lang="en-US" dirty="0"/>
              <a:t>Ablation &amp; case study (2 NLP tasks):</a:t>
            </a:r>
          </a:p>
          <a:p>
            <a:pPr marL="342900" indent="-342900">
              <a:buFontTx/>
              <a:buChar char="-"/>
            </a:pPr>
            <a:r>
              <a:rPr lang="en-US" dirty="0"/>
              <a:t>Batch size: 2048</a:t>
            </a:r>
          </a:p>
          <a:p>
            <a:pPr marL="342900" indent="-342900">
              <a:buFontTx/>
              <a:buChar char="-"/>
            </a:pPr>
            <a:r>
              <a:rPr lang="en-US" dirty="0"/>
              <a:t>Max length: 128</a:t>
            </a:r>
          </a:p>
          <a:p>
            <a:pPr marL="342900" indent="-342900">
              <a:buFontTx/>
              <a:buChar char="-"/>
            </a:pPr>
            <a:r>
              <a:rPr lang="en-US" dirty="0"/>
              <a:t>125K steps</a:t>
            </a:r>
          </a:p>
          <a:p>
            <a:r>
              <a:rPr lang="en-US" dirty="0"/>
              <a:t>- Subset of C4 English dataset</a:t>
            </a:r>
          </a:p>
          <a:p>
            <a:pPr marL="342900" indent="-342900">
              <a:buFontTx/>
              <a:buChar char="-"/>
            </a:pPr>
            <a:endParaRPr lang="en-US" dirty="0"/>
          </a:p>
          <a:p>
            <a:r>
              <a:rPr lang="en-US" dirty="0"/>
              <a:t>Main results:</a:t>
            </a:r>
          </a:p>
          <a:p>
            <a:pPr marL="342900" indent="-342900">
              <a:buFontTx/>
              <a:buChar char="-"/>
            </a:pPr>
            <a:r>
              <a:rPr lang="en-US" dirty="0"/>
              <a:t>Batch size: 256</a:t>
            </a:r>
          </a:p>
          <a:p>
            <a:pPr marL="342900" indent="-342900">
              <a:buFontTx/>
              <a:buChar char="-"/>
            </a:pPr>
            <a:r>
              <a:rPr lang="en-US" dirty="0"/>
              <a:t>Max length: 512</a:t>
            </a:r>
          </a:p>
          <a:p>
            <a:pPr marL="342900" indent="-342900">
              <a:buFontTx/>
              <a:buChar char="-"/>
            </a:pPr>
            <a:r>
              <a:rPr lang="en-US" dirty="0"/>
              <a:t>1M steps</a:t>
            </a:r>
          </a:p>
          <a:p>
            <a:pPr marL="342900" indent="-342900">
              <a:buFontTx/>
              <a:buChar char="-"/>
            </a:pPr>
            <a:r>
              <a:rPr lang="en-US" dirty="0"/>
              <a:t>Full C4 English datase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4AFB36-F508-7A7C-56FB-4FEF2B21C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6040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8BDE-DA36-E963-7FE1-CF0368B988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587829"/>
            <a:ext cx="10134600" cy="1288489"/>
          </a:xfrm>
        </p:spPr>
        <p:txBody>
          <a:bodyPr anchor="t"/>
          <a:lstStyle/>
          <a:p>
            <a:r>
              <a:rPr lang="en-US" dirty="0"/>
              <a:t>About the paper</a:t>
            </a:r>
          </a:p>
        </p:txBody>
      </p:sp>
      <p:graphicFrame>
        <p:nvGraphicFramePr>
          <p:cNvPr id="13" name="Content Placeholder 10">
            <a:extLst>
              <a:ext uri="{FF2B5EF4-FFF2-40B4-BE49-F238E27FC236}">
                <a16:creationId xmlns:a16="http://schemas.microsoft.com/office/drawing/2014/main" id="{F6E7F394-B88D-523D-AADC-274C1E8F0A5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50011122"/>
              </p:ext>
            </p:extLst>
          </p:nvPr>
        </p:nvGraphicFramePr>
        <p:xfrm>
          <a:off x="1028700" y="1809544"/>
          <a:ext cx="10134600" cy="32389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7BBC0B00-9584-C188-85B5-38B3C7C156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3</a:t>
            </a:fld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139ADA-02A3-F5C3-70A1-81D93962764C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860822" y="3855583"/>
            <a:ext cx="10484643" cy="1814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08746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041FDB1-4C71-2FDA-7B5F-F2F1067F24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86644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41FDB1-4C71-2FDA-7B5F-F2F1067F2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6B7D474-7756-6CDE-9CB2-9406066C0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723901"/>
            <a:ext cx="10134600" cy="754066"/>
          </a:xfrm>
        </p:spPr>
        <p:txBody>
          <a:bodyPr vert="horz" anchor="t">
            <a:normAutofit/>
          </a:bodyPr>
          <a:lstStyle/>
          <a:p>
            <a:r>
              <a:rPr lang="en-US" dirty="0"/>
              <a:t>Gated Multi-Layer Perceptron (</a:t>
            </a:r>
            <a:r>
              <a:rPr lang="en-US" dirty="0" err="1"/>
              <a:t>gMLP</a:t>
            </a:r>
            <a:r>
              <a:rPr lang="en-US" dirty="0"/>
              <a:t>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4D3B9E-FB8A-A870-25E9-C0C72E47B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19590046-DA73-4BBF-84B5-C08E6F75191A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pic>
        <p:nvPicPr>
          <p:cNvPr id="5" name="Picture 4" descr="A diagram of a program code&#10;&#10;Description automatically generated">
            <a:extLst>
              <a:ext uri="{FF2B5EF4-FFF2-40B4-BE49-F238E27FC236}">
                <a16:creationId xmlns:a16="http://schemas.microsoft.com/office/drawing/2014/main" id="{886FCE64-8692-9520-C9CF-320F51BB896D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66167" y="1425214"/>
            <a:ext cx="4395946" cy="3725154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DE500109-1F29-B2A2-E6ED-EE5009B3EAD1}"/>
              </a:ext>
            </a:extLst>
          </p:cNvPr>
          <p:cNvGrpSpPr/>
          <p:nvPr/>
        </p:nvGrpSpPr>
        <p:grpSpPr>
          <a:xfrm>
            <a:off x="1519522" y="1706986"/>
            <a:ext cx="1434712" cy="452459"/>
            <a:chOff x="6057390" y="1835106"/>
            <a:chExt cx="1434712" cy="452459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2883DDF-2CD7-D3E4-113F-7DB7498EFEDD}"/>
                </a:ext>
              </a:extLst>
            </p:cNvPr>
            <p:cNvSpPr txBox="1"/>
            <p:nvPr/>
          </p:nvSpPr>
          <p:spPr>
            <a:xfrm>
              <a:off x="7069258" y="1835106"/>
              <a:ext cx="1847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dirty="0"/>
            </a:p>
          </p:txBody>
        </p:sp>
        <p:pic>
          <p:nvPicPr>
            <p:cNvPr id="24" name="Content Placeholder 3">
              <a:extLst>
                <a:ext uri="{FF2B5EF4-FFF2-40B4-BE49-F238E27FC236}">
                  <a16:creationId xmlns:a16="http://schemas.microsoft.com/office/drawing/2014/main" id="{55C27AE2-97B3-7E8E-C2FF-EA485C43B2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415180" y="1906039"/>
              <a:ext cx="1076922" cy="320040"/>
            </a:xfrm>
            <a:prstGeom prst="rect">
              <a:avLst/>
            </a:prstGeom>
          </p:spPr>
        </p:pic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D163A715-9962-B413-9FB3-4D888D12065C}"/>
                </a:ext>
              </a:extLst>
            </p:cNvPr>
            <p:cNvCxnSpPr/>
            <p:nvPr/>
          </p:nvCxnSpPr>
          <p:spPr>
            <a:xfrm>
              <a:off x="7064238" y="2204438"/>
              <a:ext cx="427864" cy="0"/>
            </a:xfrm>
            <a:prstGeom prst="line">
              <a:avLst/>
            </a:prstGeom>
            <a:ln w="57150">
              <a:solidFill>
                <a:srgbClr val="DAD3E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E7E66852-A54B-6DEB-C495-16D1416BE38E}"/>
                </a:ext>
              </a:extLst>
            </p:cNvPr>
            <p:cNvCxnSpPr>
              <a:cxnSpLocks/>
            </p:cNvCxnSpPr>
            <p:nvPr/>
          </p:nvCxnSpPr>
          <p:spPr>
            <a:xfrm>
              <a:off x="6904027" y="2287565"/>
              <a:ext cx="588075" cy="0"/>
            </a:xfrm>
            <a:prstGeom prst="line">
              <a:avLst/>
            </a:prstGeom>
            <a:ln w="57150">
              <a:solidFill>
                <a:srgbClr val="DAEBD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0B55317-2ADC-5349-B12A-BF87AC7ECF82}"/>
                </a:ext>
              </a:extLst>
            </p:cNvPr>
            <p:cNvSpPr txBox="1"/>
            <p:nvPr/>
          </p:nvSpPr>
          <p:spPr>
            <a:xfrm>
              <a:off x="6057390" y="1881395"/>
              <a:ext cx="3577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1.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C10DA9AF-DE86-B3F0-DC69-C361ED933A38}"/>
              </a:ext>
            </a:extLst>
          </p:cNvPr>
          <p:cNvGrpSpPr/>
          <p:nvPr/>
        </p:nvGrpSpPr>
        <p:grpSpPr>
          <a:xfrm>
            <a:off x="1519522" y="2516586"/>
            <a:ext cx="4384696" cy="1247061"/>
            <a:chOff x="6057390" y="2644706"/>
            <a:chExt cx="4384696" cy="124706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7956F6F-6A2E-9798-4FAD-4C6B60213BD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283089" y="3068687"/>
              <a:ext cx="1841500" cy="33020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01A48504-A8D5-517D-BE37-ABEBD1022D3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676786" y="3472667"/>
              <a:ext cx="1765300" cy="419100"/>
            </a:xfrm>
            <a:prstGeom prst="rect">
              <a:avLst/>
            </a:prstGeom>
          </p:spPr>
        </p:pic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4DE74143-4F35-EC00-F771-A0406331938F}"/>
                </a:ext>
              </a:extLst>
            </p:cNvPr>
            <p:cNvGrpSpPr/>
            <p:nvPr/>
          </p:nvGrpSpPr>
          <p:grpSpPr>
            <a:xfrm>
              <a:off x="6057390" y="2644706"/>
              <a:ext cx="1225699" cy="369332"/>
              <a:chOff x="6057390" y="2644706"/>
              <a:chExt cx="1225699" cy="369332"/>
            </a:xfrm>
          </p:grpSpPr>
          <p:pic>
            <p:nvPicPr>
              <p:cNvPr id="25" name="Content Placeholder 3">
                <a:extLst>
                  <a:ext uri="{FF2B5EF4-FFF2-40B4-BE49-F238E27FC236}">
                    <a16:creationId xmlns:a16="http://schemas.microsoft.com/office/drawing/2014/main" id="{AE3F161B-7669-F876-2199-BEA9FD06118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58743" y="2683207"/>
                <a:ext cx="824346" cy="320039"/>
              </a:xfrm>
              <a:prstGeom prst="rect">
                <a:avLst/>
              </a:prstGeom>
            </p:spPr>
          </p:pic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D7CB4DF1-0D2D-0D6A-CD82-A2C7ADA85289}"/>
                  </a:ext>
                </a:extLst>
              </p:cNvPr>
              <p:cNvSpPr txBox="1"/>
              <p:nvPr/>
            </p:nvSpPr>
            <p:spPr>
              <a:xfrm>
                <a:off x="6057390" y="2644706"/>
                <a:ext cx="35779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2.</a:t>
                </a:r>
              </a:p>
            </p:txBody>
          </p:sp>
        </p:grp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4E0533E3-22A1-AC15-97AA-3AA22F6ED037}"/>
                </a:ext>
              </a:extLst>
            </p:cNvPr>
            <p:cNvCxnSpPr>
              <a:cxnSpLocks/>
            </p:cNvCxnSpPr>
            <p:nvPr/>
          </p:nvCxnSpPr>
          <p:spPr>
            <a:xfrm>
              <a:off x="8396800" y="3379689"/>
              <a:ext cx="673525" cy="5362"/>
            </a:xfrm>
            <a:prstGeom prst="line">
              <a:avLst/>
            </a:prstGeom>
            <a:ln w="57150">
              <a:solidFill>
                <a:srgbClr val="F6CBC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Elbow Connector 49">
              <a:extLst>
                <a:ext uri="{FF2B5EF4-FFF2-40B4-BE49-F238E27FC236}">
                  <a16:creationId xmlns:a16="http://schemas.microsoft.com/office/drawing/2014/main" id="{756D872A-401C-3D73-02FE-7F050EA967C4}"/>
                </a:ext>
              </a:extLst>
            </p:cNvPr>
            <p:cNvCxnSpPr>
              <a:cxnSpLocks/>
              <a:endCxn id="13" idx="1"/>
            </p:cNvCxnSpPr>
            <p:nvPr/>
          </p:nvCxnSpPr>
          <p:spPr>
            <a:xfrm>
              <a:off x="7046362" y="3014038"/>
              <a:ext cx="236727" cy="219749"/>
            </a:xfrm>
            <a:prstGeom prst="bentConnector3">
              <a:avLst>
                <a:gd name="adj1" fmla="val 253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Elbow Connector 53">
              <a:extLst>
                <a:ext uri="{FF2B5EF4-FFF2-40B4-BE49-F238E27FC236}">
                  <a16:creationId xmlns:a16="http://schemas.microsoft.com/office/drawing/2014/main" id="{9D0E281D-F3B4-6F89-7535-313CDDB26923}"/>
                </a:ext>
              </a:extLst>
            </p:cNvPr>
            <p:cNvCxnSpPr>
              <a:cxnSpLocks/>
            </p:cNvCxnSpPr>
            <p:nvPr/>
          </p:nvCxnSpPr>
          <p:spPr>
            <a:xfrm>
              <a:off x="8496835" y="3472667"/>
              <a:ext cx="236727" cy="219749"/>
            </a:xfrm>
            <a:prstGeom prst="bentConnector3">
              <a:avLst>
                <a:gd name="adj1" fmla="val 253"/>
              </a:avLst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31D0F1E-21FB-C4A4-F189-E4098DE78CCE}"/>
              </a:ext>
            </a:extLst>
          </p:cNvPr>
          <p:cNvGrpSpPr/>
          <p:nvPr/>
        </p:nvGrpSpPr>
        <p:grpSpPr>
          <a:xfrm>
            <a:off x="1520709" y="3675470"/>
            <a:ext cx="1166311" cy="369332"/>
            <a:chOff x="6058577" y="3803590"/>
            <a:chExt cx="1166311" cy="369332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144A3E3F-99A9-9390-A5FB-E8E2E084960C}"/>
                </a:ext>
              </a:extLst>
            </p:cNvPr>
            <p:cNvGrpSpPr/>
            <p:nvPr/>
          </p:nvGrpSpPr>
          <p:grpSpPr>
            <a:xfrm>
              <a:off x="6058577" y="3803590"/>
              <a:ext cx="1166311" cy="369332"/>
              <a:chOff x="6058577" y="3803590"/>
              <a:chExt cx="1166311" cy="369332"/>
            </a:xfrm>
          </p:grpSpPr>
          <p:pic>
            <p:nvPicPr>
              <p:cNvPr id="3" name="Content Placeholder 3">
                <a:extLst>
                  <a:ext uri="{FF2B5EF4-FFF2-40B4-BE49-F238E27FC236}">
                    <a16:creationId xmlns:a16="http://schemas.microsoft.com/office/drawing/2014/main" id="{75387DAB-4EB7-694D-57E8-C61E523F410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58743" y="3854755"/>
                <a:ext cx="766145" cy="305555"/>
              </a:xfrm>
              <a:prstGeom prst="rect">
                <a:avLst/>
              </a:prstGeom>
            </p:spPr>
          </p:pic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73E02354-82EE-057C-365D-9A453EE27CEB}"/>
                  </a:ext>
                </a:extLst>
              </p:cNvPr>
              <p:cNvSpPr txBox="1"/>
              <p:nvPr/>
            </p:nvSpPr>
            <p:spPr>
              <a:xfrm>
                <a:off x="6058577" y="3803590"/>
                <a:ext cx="357790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3.</a:t>
                </a:r>
              </a:p>
            </p:txBody>
          </p:sp>
        </p:grp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CEFBC90D-6C24-C635-4ABA-88D1E57556E1}"/>
                </a:ext>
              </a:extLst>
            </p:cNvPr>
            <p:cNvCxnSpPr>
              <a:cxnSpLocks/>
            </p:cNvCxnSpPr>
            <p:nvPr/>
          </p:nvCxnSpPr>
          <p:spPr>
            <a:xfrm>
              <a:off x="6855225" y="4133402"/>
              <a:ext cx="369663" cy="0"/>
            </a:xfrm>
            <a:prstGeom prst="line">
              <a:avLst/>
            </a:prstGeom>
            <a:ln w="57150">
              <a:solidFill>
                <a:srgbClr val="DAD3E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D29303CF-78BC-6C7A-D77F-ED42704E4181}"/>
              </a:ext>
            </a:extLst>
          </p:cNvPr>
          <p:cNvCxnSpPr>
            <a:cxnSpLocks/>
            <a:stCxn id="14" idx="2"/>
          </p:cNvCxnSpPr>
          <p:nvPr/>
        </p:nvCxnSpPr>
        <p:spPr>
          <a:xfrm>
            <a:off x="5021568" y="3763647"/>
            <a:ext cx="0" cy="701148"/>
          </a:xfrm>
          <a:prstGeom prst="straightConnector1">
            <a:avLst/>
          </a:prstGeom>
          <a:ln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>
            <a:extLst>
              <a:ext uri="{FF2B5EF4-FFF2-40B4-BE49-F238E27FC236}">
                <a16:creationId xmlns:a16="http://schemas.microsoft.com/office/drawing/2014/main" id="{4F79235F-AB58-7FE8-6B20-DDE1FBFD1415}"/>
              </a:ext>
            </a:extLst>
          </p:cNvPr>
          <p:cNvSpPr txBox="1"/>
          <p:nvPr/>
        </p:nvSpPr>
        <p:spPr>
          <a:xfrm>
            <a:off x="4352795" y="4483714"/>
            <a:ext cx="1337546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/>
              <a:t>Ini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W near 0’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b all 1’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31546DD-8FBB-1F78-16A8-BAE9FBF1E11C}"/>
              </a:ext>
            </a:extLst>
          </p:cNvPr>
          <p:cNvGrpSpPr/>
          <p:nvPr/>
        </p:nvGrpSpPr>
        <p:grpSpPr>
          <a:xfrm>
            <a:off x="3079376" y="1810946"/>
            <a:ext cx="1162012" cy="307777"/>
            <a:chOff x="3079376" y="1784050"/>
            <a:chExt cx="1162012" cy="307777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91D113F-7555-4830-0699-FBDE8D15D095}"/>
                </a:ext>
              </a:extLst>
            </p:cNvPr>
            <p:cNvSpPr txBox="1"/>
            <p:nvPr/>
          </p:nvSpPr>
          <p:spPr>
            <a:xfrm>
              <a:off x="3574218" y="1784050"/>
              <a:ext cx="667170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GELU</a:t>
              </a:r>
            </a:p>
          </p:txBody>
        </p:sp>
        <p:cxnSp>
          <p:nvCxnSpPr>
            <p:cNvPr id="9" name="Straight Arrow Connector 8">
              <a:extLst>
                <a:ext uri="{FF2B5EF4-FFF2-40B4-BE49-F238E27FC236}">
                  <a16:creationId xmlns:a16="http://schemas.microsoft.com/office/drawing/2014/main" id="{96CEF792-5E97-16A9-F9E3-7BF541AB7B5B}"/>
                </a:ext>
              </a:extLst>
            </p:cNvPr>
            <p:cNvCxnSpPr>
              <a:cxnSpLocks/>
              <a:stCxn id="7" idx="1"/>
            </p:cNvCxnSpPr>
            <p:nvPr/>
          </p:nvCxnSpPr>
          <p:spPr>
            <a:xfrm flipH="1">
              <a:off x="3079376" y="1937939"/>
              <a:ext cx="494842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816736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E90B1C6-AF6B-6EA2-E17B-670B490D18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34915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39A94E-37E3-1756-00B0-293A963BA5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Gaussian Error Linear Unit (GELU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434B1E-3733-760F-784E-BB05E8F2F5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5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14E0F8E-E0A7-6D63-6427-148B145900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28699" y="2645398"/>
            <a:ext cx="4902760" cy="306422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15B7A0F-0259-76B9-1E69-B738F1756BB7}"/>
              </a:ext>
            </a:extLst>
          </p:cNvPr>
          <p:cNvSpPr txBox="1"/>
          <p:nvPr/>
        </p:nvSpPr>
        <p:spPr>
          <a:xfrm>
            <a:off x="1912182" y="1644666"/>
            <a:ext cx="313579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Bembo"/>
              </a:rPr>
              <a:t>GELU(x) = </a:t>
            </a:r>
            <a:r>
              <a:rPr lang="en-US" dirty="0" err="1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Bembo"/>
              </a:rPr>
              <a:t>xP</a:t>
            </a:r>
            <a:r>
              <a:rPr lang="en-US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Bembo"/>
              </a:rPr>
              <a:t>(X ≤ x) = x</a:t>
            </a:r>
            <a:r>
              <a:rPr lang="el-GR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</a:rPr>
              <a:t>Φ(</a:t>
            </a:r>
            <a:r>
              <a:rPr lang="en-US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Bembo"/>
              </a:rPr>
              <a:t>x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9BF902C-7037-FC5E-6D0D-F15253BF2660}"/>
              </a:ext>
            </a:extLst>
          </p:cNvPr>
          <p:cNvSpPr txBox="1"/>
          <p:nvPr/>
        </p:nvSpPr>
        <p:spPr>
          <a:xfrm>
            <a:off x="3194393" y="2060166"/>
            <a:ext cx="18535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latin typeface="Bembo"/>
              </a:rPr>
              <a:t>where X ~ N(0,1)</a:t>
            </a:r>
            <a:endParaRPr lang="en-US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270643E-BEB2-F7CA-11B7-557E5B588C18}"/>
              </a:ext>
            </a:extLst>
          </p:cNvPr>
          <p:cNvSpPr txBox="1"/>
          <p:nvPr/>
        </p:nvSpPr>
        <p:spPr>
          <a:xfrm>
            <a:off x="6842235" y="1605252"/>
            <a:ext cx="37558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Idea</a:t>
            </a:r>
          </a:p>
          <a:p>
            <a:r>
              <a:rPr lang="en-US" dirty="0"/>
              <a:t>Combine </a:t>
            </a:r>
            <a:r>
              <a:rPr lang="en-US" dirty="0" err="1"/>
              <a:t>ReLU</a:t>
            </a:r>
            <a:r>
              <a:rPr lang="en-US" dirty="0"/>
              <a:t>, dropout and </a:t>
            </a:r>
            <a:r>
              <a:rPr lang="en-US" dirty="0" err="1"/>
              <a:t>zoneout</a:t>
            </a:r>
            <a:endParaRPr lang="en-US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E318BC10-FFEC-3FE2-741A-1AFDF7C5824A}"/>
              </a:ext>
            </a:extLst>
          </p:cNvPr>
          <p:cNvGrpSpPr/>
          <p:nvPr/>
        </p:nvGrpSpPr>
        <p:grpSpPr>
          <a:xfrm>
            <a:off x="6660367" y="2297750"/>
            <a:ext cx="4222319" cy="3411873"/>
            <a:chOff x="6660367" y="2297750"/>
            <a:chExt cx="4222319" cy="3411873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6E4CF90-CA6E-8F1F-EF1C-547B11B0A88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660367" y="3025489"/>
              <a:ext cx="4222319" cy="2684134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2E8CD55-5F4E-B2D7-8F0B-A81D498E4F59}"/>
                </a:ext>
              </a:extLst>
            </p:cNvPr>
            <p:cNvSpPr txBox="1"/>
            <p:nvPr/>
          </p:nvSpPr>
          <p:spPr>
            <a:xfrm>
              <a:off x="6842235" y="2297750"/>
              <a:ext cx="355270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⇒ GELU has faster convergence rate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E4C2C94B-1CB2-6A06-85C8-FC0B2DFA7A84}"/>
                </a:ext>
              </a:extLst>
            </p:cNvPr>
            <p:cNvSpPr txBox="1"/>
            <p:nvPr/>
          </p:nvSpPr>
          <p:spPr>
            <a:xfrm>
              <a:off x="7678919" y="2834784"/>
              <a:ext cx="218521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/>
                <a:t>TIMIT Frame Classif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26201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D19DA2-4DF5-844F-3390-711525C4FAD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Image classifica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E16B43F-AA20-0942-D766-92080A5790D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B776CD-13C9-F85E-529C-239A09F051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3555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CB0D8728-EFAF-CD07-BB28-5EA58A2194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04189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A42F55B-7DF7-AA86-C2C6-C16313E705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Set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26A7B08-E410-DF8C-0BD0-28E4303CF0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7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5BC0AF-666C-41DA-CDF7-36D7078F1A1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52783" y="1293876"/>
            <a:ext cx="5630835" cy="4270248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74C51287-D7DB-7B88-7DC9-1C3B4501D0C0}"/>
              </a:ext>
            </a:extLst>
          </p:cNvPr>
          <p:cNvGrpSpPr/>
          <p:nvPr/>
        </p:nvGrpSpPr>
        <p:grpSpPr>
          <a:xfrm>
            <a:off x="5851712" y="2925512"/>
            <a:ext cx="4618812" cy="1020625"/>
            <a:chOff x="5851712" y="2925512"/>
            <a:chExt cx="4618812" cy="1020625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CAD07A9-8E14-3B06-7EEC-B1939CA9797B}"/>
                </a:ext>
              </a:extLst>
            </p:cNvPr>
            <p:cNvCxnSpPr/>
            <p:nvPr/>
          </p:nvCxnSpPr>
          <p:spPr>
            <a:xfrm>
              <a:off x="8054789" y="3116902"/>
              <a:ext cx="1593476" cy="0"/>
            </a:xfrm>
            <a:prstGeom prst="line">
              <a:avLst/>
            </a:prstGeom>
            <a:ln w="38100">
              <a:solidFill>
                <a:srgbClr val="FF0000">
                  <a:alpha val="7529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5328365-CCA8-E19F-1D6D-855EBCE9C8CB}"/>
                </a:ext>
              </a:extLst>
            </p:cNvPr>
            <p:cNvSpPr txBox="1"/>
            <p:nvPr/>
          </p:nvSpPr>
          <p:spPr>
            <a:xfrm>
              <a:off x="9708777" y="2925512"/>
              <a:ext cx="76174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>
                  <a:solidFill>
                    <a:srgbClr val="FF0000"/>
                  </a:solidFill>
                </a:rPr>
                <a:t>gMLP</a:t>
              </a:r>
              <a:endParaRPr lang="en-US" dirty="0">
                <a:solidFill>
                  <a:srgbClr val="FF0000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C45D1BE-9BD0-C3EC-61A8-3FFC0E0E24A4}"/>
                </a:ext>
              </a:extLst>
            </p:cNvPr>
            <p:cNvCxnSpPr>
              <a:cxnSpLocks/>
            </p:cNvCxnSpPr>
            <p:nvPr/>
          </p:nvCxnSpPr>
          <p:spPr>
            <a:xfrm>
              <a:off x="6055659" y="3807184"/>
              <a:ext cx="661148" cy="0"/>
            </a:xfrm>
            <a:prstGeom prst="line">
              <a:avLst/>
            </a:prstGeom>
            <a:ln w="38100">
              <a:solidFill>
                <a:srgbClr val="FF0000">
                  <a:alpha val="7529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E2234C9B-89D7-4487-661F-671DF3CB35B1}"/>
                </a:ext>
              </a:extLst>
            </p:cNvPr>
            <p:cNvCxnSpPr>
              <a:cxnSpLocks/>
            </p:cNvCxnSpPr>
            <p:nvPr/>
          </p:nvCxnSpPr>
          <p:spPr>
            <a:xfrm>
              <a:off x="5851712" y="3946137"/>
              <a:ext cx="661148" cy="0"/>
            </a:xfrm>
            <a:prstGeom prst="line">
              <a:avLst/>
            </a:prstGeom>
            <a:ln w="38100">
              <a:solidFill>
                <a:srgbClr val="FF0000">
                  <a:alpha val="75294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Right Brace 15">
            <a:extLst>
              <a:ext uri="{FF2B5EF4-FFF2-40B4-BE49-F238E27FC236}">
                <a16:creationId xmlns:a16="http://schemas.microsoft.com/office/drawing/2014/main" id="{97D81443-1A8C-0996-7C40-CA7655849A6C}"/>
              </a:ext>
            </a:extLst>
          </p:cNvPr>
          <p:cNvSpPr/>
          <p:nvPr/>
        </p:nvSpPr>
        <p:spPr>
          <a:xfrm rot="5400000">
            <a:off x="7540437" y="4922170"/>
            <a:ext cx="132277" cy="318202"/>
          </a:xfrm>
          <a:prstGeom prst="rightBrac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CE9153-B198-714C-30D4-DA88057746C4}"/>
              </a:ext>
            </a:extLst>
          </p:cNvPr>
          <p:cNvSpPr txBox="1"/>
          <p:nvPr/>
        </p:nvSpPr>
        <p:spPr>
          <a:xfrm>
            <a:off x="7167283" y="5147410"/>
            <a:ext cx="8819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16 x 16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C7E8363-9BB6-D7DD-0BB0-7F48825FCEB6}"/>
              </a:ext>
            </a:extLst>
          </p:cNvPr>
          <p:cNvSpPr txBox="1"/>
          <p:nvPr/>
        </p:nvSpPr>
        <p:spPr>
          <a:xfrm>
            <a:off x="1028700" y="1916573"/>
            <a:ext cx="2934650" cy="17075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Input/Output:  </a:t>
            </a:r>
            <a:r>
              <a:rPr lang="en-US" dirty="0" err="1"/>
              <a:t>ViT</a:t>
            </a:r>
            <a:r>
              <a:rPr lang="en-US" dirty="0"/>
              <a:t>/B16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Regularization like </a:t>
            </a:r>
            <a:r>
              <a:rPr lang="en-US" dirty="0" err="1"/>
              <a:t>DeiT</a:t>
            </a:r>
            <a:r>
              <a:rPr lang="en-US" dirty="0"/>
              <a:t>:  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L2-regularization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/>
              <a:t>Stochastic depth</a:t>
            </a:r>
          </a:p>
        </p:txBody>
      </p:sp>
    </p:spTree>
    <p:extLst>
      <p:ext uri="{BB962C8B-B14F-4D97-AF65-F5344CB8AC3E}">
        <p14:creationId xmlns:p14="http://schemas.microsoft.com/office/powerpoint/2010/main" val="879402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BBDEE0A-EF4A-3EE6-FD4D-FD8CDCA0EB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783957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lded Corner 5">
            <a:extLst>
              <a:ext uri="{FF2B5EF4-FFF2-40B4-BE49-F238E27FC236}">
                <a16:creationId xmlns:a16="http://schemas.microsoft.com/office/drawing/2014/main" id="{DABBD7AB-F7E4-326A-2B67-4A6BC5E1BE86}"/>
              </a:ext>
            </a:extLst>
          </p:cNvPr>
          <p:cNvSpPr/>
          <p:nvPr/>
        </p:nvSpPr>
        <p:spPr>
          <a:xfrm>
            <a:off x="6505367" y="672358"/>
            <a:ext cx="3804659" cy="3535040"/>
          </a:xfrm>
          <a:prstGeom prst="foldedCorner">
            <a:avLst/>
          </a:prstGeom>
          <a:solidFill>
            <a:srgbClr val="CEDBE7"/>
          </a:solidFill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9ACE2D-3237-BCB6-7167-2950DDB07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7681" y="783925"/>
            <a:ext cx="1580029" cy="716123"/>
          </a:xfrm>
        </p:spPr>
        <p:txBody>
          <a:bodyPr vert="horz" anchor="t"/>
          <a:lstStyle/>
          <a:p>
            <a:pPr algn="ctr"/>
            <a:r>
              <a:rPr lang="en-US" dirty="0"/>
              <a:t>Resul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FDDE6B9-7CCB-9F47-6CDD-0A09803B0C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8</a:t>
            </a:fld>
            <a:endParaRPr lang="en-US"/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4695E6B2-E496-0B7B-4522-4C84FF351ABA}"/>
              </a:ext>
            </a:extLst>
          </p:cNvPr>
          <p:cNvGrpSpPr/>
          <p:nvPr/>
        </p:nvGrpSpPr>
        <p:grpSpPr>
          <a:xfrm>
            <a:off x="1749678" y="700506"/>
            <a:ext cx="3758047" cy="1186163"/>
            <a:chOff x="1028700" y="1585985"/>
            <a:chExt cx="3758047" cy="1186163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CD010B2B-0824-C79F-F956-4FD4E63CE69C}"/>
                </a:ext>
              </a:extLst>
            </p:cNvPr>
            <p:cNvGrpSpPr/>
            <p:nvPr/>
          </p:nvGrpSpPr>
          <p:grpSpPr>
            <a:xfrm>
              <a:off x="1028700" y="2012389"/>
              <a:ext cx="2982191" cy="759759"/>
              <a:chOff x="1028700" y="2012389"/>
              <a:chExt cx="2982191" cy="759759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A90F1574-1F27-C0CE-3BDE-D833F914063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28700" y="2301501"/>
                <a:ext cx="2982191" cy="470647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C0AE412F-1256-278E-343B-FFEE376FEC9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28700" y="2012389"/>
                <a:ext cx="2982191" cy="289112"/>
              </a:xfrm>
              <a:prstGeom prst="rect">
                <a:avLst/>
              </a:prstGeom>
            </p:spPr>
          </p:pic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1F113D68-8A9E-50A2-F81E-E4719C6A1832}"/>
                </a:ext>
              </a:extLst>
            </p:cNvPr>
            <p:cNvGrpSpPr/>
            <p:nvPr/>
          </p:nvGrpSpPr>
          <p:grpSpPr>
            <a:xfrm>
              <a:off x="4010891" y="2010285"/>
              <a:ext cx="775856" cy="761863"/>
              <a:chOff x="5923806" y="2010285"/>
              <a:chExt cx="775856" cy="761863"/>
            </a:xfrm>
          </p:grpSpPr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A27C3B11-10D1-196E-5CBD-46035C804B5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23806" y="2301501"/>
                <a:ext cx="775855" cy="470647"/>
              </a:xfrm>
              <a:prstGeom prst="rect">
                <a:avLst/>
              </a:prstGeom>
            </p:spPr>
          </p:pic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4D83B86D-A599-49E0-5542-CE36F39EDAA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23808" y="2010285"/>
                <a:ext cx="775854" cy="259423"/>
              </a:xfrm>
              <a:prstGeom prst="rect">
                <a:avLst/>
              </a:prstGeom>
            </p:spPr>
          </p:pic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6D4FE0D1-A001-FD8F-51EC-D3438A803966}"/>
                </a:ext>
              </a:extLst>
            </p:cNvPr>
            <p:cNvSpPr txBox="1"/>
            <p:nvPr/>
          </p:nvSpPr>
          <p:spPr>
            <a:xfrm>
              <a:off x="2746304" y="1585985"/>
              <a:ext cx="76174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gMLP</a:t>
              </a:r>
              <a:endParaRPr lang="en-US" dirty="0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6B445D1-5BF5-815B-37F6-F9C901FB886B}"/>
              </a:ext>
            </a:extLst>
          </p:cNvPr>
          <p:cNvGrpSpPr/>
          <p:nvPr/>
        </p:nvGrpSpPr>
        <p:grpSpPr>
          <a:xfrm>
            <a:off x="1749677" y="4637051"/>
            <a:ext cx="3758047" cy="1094039"/>
            <a:chOff x="5914159" y="1602471"/>
            <a:chExt cx="3758047" cy="1094039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2113B720-D4EC-E8EE-69A6-74E9A9DB5BDA}"/>
                </a:ext>
              </a:extLst>
            </p:cNvPr>
            <p:cNvGrpSpPr/>
            <p:nvPr/>
          </p:nvGrpSpPr>
          <p:grpSpPr>
            <a:xfrm>
              <a:off x="5914159" y="1996493"/>
              <a:ext cx="3758047" cy="700017"/>
              <a:chOff x="5914159" y="1996493"/>
              <a:chExt cx="3758047" cy="700017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0AB65FA2-95F2-ACE7-2510-FCED21F62BF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005945" y="2285605"/>
                <a:ext cx="2410692" cy="201258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B2A7B85C-D2F2-2B1C-B132-257437F8B77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14159" y="1996493"/>
                <a:ext cx="2982191" cy="289112"/>
              </a:xfrm>
              <a:prstGeom prst="rect">
                <a:avLst/>
              </a:prstGeom>
            </p:spPr>
          </p:pic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534117B2-5C43-B9BB-79DE-13BF75D146B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ackgroundRemoval t="0" b="89796" l="141" r="100000">
                            <a14:foregroundMark x1="51268" y1="91837" x2="53099" y2="93878"/>
                            <a14:foregroundMark x1="0" y1="28571" x2="50845" y2="89796"/>
                            <a14:foregroundMark x1="53099" y1="93878" x2="93944" y2="20408"/>
                            <a14:foregroundMark x1="93944" y1="20408" x2="97042" y2="42857"/>
                            <a14:foregroundMark x1="15211" y1="71429" x2="282" y2="46939"/>
                            <a14:foregroundMark x1="34225" y1="0" x2="32394" y2="30612"/>
                            <a14:foregroundMark x1="37887" y1="0" x2="39718" y2="73469"/>
                            <a14:foregroundMark x1="38732" y1="0" x2="38732" y2="48980"/>
                            <a14:foregroundMark x1="39014" y1="0" x2="38732" y2="34694"/>
                            <a14:foregroundMark x1="53380" y1="83673" x2="99296" y2="24490"/>
                            <a14:foregroundMark x1="99296" y1="24490" x2="99859" y2="24490"/>
                            <a14:foregroundMark x1="57042" y1="0" x2="57606" y2="73469"/>
                            <a14:foregroundMark x1="36479" y1="28571" x2="31831" y2="75510"/>
                            <a14:backgroundMark x1="49718" y1="0" x2="49155" y2="44898"/>
                            <a14:backgroundMark x1="52113" y1="0" x2="51690" y2="73469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-13964"/>
              <a:stretch/>
            </p:blipFill>
            <p:spPr>
              <a:xfrm>
                <a:off x="6005945" y="2458191"/>
                <a:ext cx="2410692" cy="201259"/>
              </a:xfrm>
              <a:prstGeom prst="rect">
                <a:avLst/>
              </a:prstGeom>
            </p:spPr>
          </p:pic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C9720265-C05A-B8C8-10BB-2FF923B8582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896352" y="1996493"/>
                <a:ext cx="775854" cy="259423"/>
              </a:xfrm>
              <a:prstGeom prst="rect">
                <a:avLst/>
              </a:prstGeom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20E12F4C-5180-0183-01C5-8C764CBFAD9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1854" r="-4067"/>
              <a:stretch/>
            </p:blipFill>
            <p:spPr>
              <a:xfrm>
                <a:off x="8896350" y="2285605"/>
                <a:ext cx="671945" cy="167709"/>
              </a:xfrm>
              <a:prstGeom prst="rect">
                <a:avLst/>
              </a:prstGeom>
            </p:spPr>
          </p:pic>
          <p:pic>
            <p:nvPicPr>
              <p:cNvPr id="19" name="Picture 18">
                <a:extLst>
                  <a:ext uri="{FF2B5EF4-FFF2-40B4-BE49-F238E27FC236}">
                    <a16:creationId xmlns:a16="http://schemas.microsoft.com/office/drawing/2014/main" id="{40A462C4-4DFB-A73F-A067-AAC29D4C6F1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4067" b="-15648"/>
              <a:stretch/>
            </p:blipFill>
            <p:spPr>
              <a:xfrm>
                <a:off x="8896350" y="2483003"/>
                <a:ext cx="671945" cy="213507"/>
              </a:xfrm>
              <a:prstGeom prst="rect">
                <a:avLst/>
              </a:prstGeom>
            </p:spPr>
          </p:pic>
        </p:grp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DE1FDE4-6950-55F5-DD85-5B0D057BE18C}"/>
                </a:ext>
              </a:extLst>
            </p:cNvPr>
            <p:cNvSpPr txBox="1"/>
            <p:nvPr/>
          </p:nvSpPr>
          <p:spPr>
            <a:xfrm>
              <a:off x="7356706" y="1602471"/>
              <a:ext cx="12975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MLP-Mixer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EA1C6DC-265C-73AF-632A-DE8BDD491C73}"/>
              </a:ext>
            </a:extLst>
          </p:cNvPr>
          <p:cNvGrpSpPr/>
          <p:nvPr/>
        </p:nvGrpSpPr>
        <p:grpSpPr>
          <a:xfrm>
            <a:off x="1749677" y="2684926"/>
            <a:ext cx="3936956" cy="1154077"/>
            <a:chOff x="1028699" y="3244334"/>
            <a:chExt cx="3936956" cy="1154077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6392F603-4D28-4390-F527-9D83BFABEFC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28700" y="3927764"/>
              <a:ext cx="2608118" cy="470647"/>
            </a:xfrm>
            <a:prstGeom prst="rect">
              <a:avLst/>
            </a:prstGeom>
          </p:spPr>
        </p:pic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D8596E41-02A4-E090-D98A-40193FEE3B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10890" y="3927763"/>
              <a:ext cx="954765" cy="470647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E4B4E5A8-212E-AE3B-B2AB-D5EBE3A715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28699" y="3653786"/>
              <a:ext cx="2982191" cy="289112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A958B1E2-DFBC-BD8D-08CB-8DADF2B6076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10892" y="3651682"/>
              <a:ext cx="775854" cy="259423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DDE5DD5-02DA-901B-F356-4C1CD0516426}"/>
                </a:ext>
              </a:extLst>
            </p:cNvPr>
            <p:cNvSpPr txBox="1"/>
            <p:nvPr/>
          </p:nvSpPr>
          <p:spPr>
            <a:xfrm>
              <a:off x="2353662" y="3244334"/>
              <a:ext cx="130529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Transformer</a:t>
              </a:r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E34CEF90-6B8C-A5F5-C7E5-8D33C2542329}"/>
              </a:ext>
            </a:extLst>
          </p:cNvPr>
          <p:cNvSpPr/>
          <p:nvPr/>
        </p:nvSpPr>
        <p:spPr>
          <a:xfrm>
            <a:off x="3830794" y="1739630"/>
            <a:ext cx="273126" cy="147039"/>
          </a:xfrm>
          <a:prstGeom prst="rect">
            <a:avLst/>
          </a:prstGeom>
          <a:solidFill>
            <a:srgbClr val="F6CBCD">
              <a:alpha val="4039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819E7B1-6CBA-317A-01AF-239EE7340DD7}"/>
              </a:ext>
            </a:extLst>
          </p:cNvPr>
          <p:cNvSpPr/>
          <p:nvPr/>
        </p:nvSpPr>
        <p:spPr>
          <a:xfrm>
            <a:off x="3827780" y="3676393"/>
            <a:ext cx="292657" cy="162609"/>
          </a:xfrm>
          <a:prstGeom prst="rect">
            <a:avLst/>
          </a:prstGeom>
          <a:solidFill>
            <a:srgbClr val="F6CBCD">
              <a:alpha val="40392"/>
            </a:srgbClr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7538FDE0-F53B-3C43-1196-6CDA7848CBD3}"/>
              </a:ext>
            </a:extLst>
          </p:cNvPr>
          <p:cNvSpPr/>
          <p:nvPr/>
        </p:nvSpPr>
        <p:spPr>
          <a:xfrm>
            <a:off x="3840992" y="5344875"/>
            <a:ext cx="273126" cy="147039"/>
          </a:xfrm>
          <a:prstGeom prst="rect">
            <a:avLst/>
          </a:prstGeom>
          <a:solidFill>
            <a:srgbClr val="F6CBCD">
              <a:alpha val="40392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A6975652-7098-9A1E-FC48-B984945714C9}"/>
              </a:ext>
            </a:extLst>
          </p:cNvPr>
          <p:cNvGrpSpPr/>
          <p:nvPr/>
        </p:nvGrpSpPr>
        <p:grpSpPr>
          <a:xfrm>
            <a:off x="6432487" y="4637993"/>
            <a:ext cx="3944009" cy="986343"/>
            <a:chOff x="3983508" y="636474"/>
            <a:chExt cx="3944009" cy="986343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75B57675-67EB-7D98-F3EF-ED21E0E2814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ackgroundRemoval t="0" b="100000" l="601" r="96593">
                          <a14:foregroundMark x1="4609" y1="0" x2="18036" y2="98387"/>
                          <a14:foregroundMark x1="80962" y1="0" x2="99800" y2="16129"/>
                          <a14:foregroundMark x1="22445" y1="0" x2="18637" y2="4839"/>
                          <a14:foregroundMark x1="14629" y1="0" x2="18437" y2="4839"/>
                          <a14:foregroundMark x1="2004" y1="6452" x2="25251" y2="98387"/>
                          <a14:foregroundMark x1="96794" y1="88710" x2="88577" y2="98387"/>
                          <a14:foregroundMark x1="96994" y1="88710" x2="73948" y2="27419"/>
                          <a14:foregroundMark x1="73948" y1="27419" x2="54309" y2="64516"/>
                          <a14:foregroundMark x1="9218" y1="0" x2="54108" y2="62903"/>
                          <a14:foregroundMark x1="3607" y1="64516" x2="10020" y2="98387"/>
                          <a14:foregroundMark x1="75551" y1="45161" x2="92986" y2="98387"/>
                          <a14:foregroundMark x1="75551" y1="45161" x2="48096" y2="59677"/>
                          <a14:foregroundMark x1="48096" y1="59677" x2="8617" y2="20968"/>
                          <a14:backgroundMark x1="51102" y1="0" x2="51102" y2="0"/>
                          <a14:backgroundMark x1="42084" y1="0" x2="42084" y2="4839"/>
                          <a14:backgroundMark x1="40882" y1="3226" x2="49900" y2="3226"/>
                          <a14:backgroundMark x1="50100" y1="0" x2="48297" y2="1613"/>
                          <a14:backgroundMark x1="51904" y1="0" x2="49299" y2="4839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83508" y="1294797"/>
              <a:ext cx="2483195" cy="307166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E69E47A3-3395-0D16-CA7F-BBF7BCDFC6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83508" y="1037549"/>
              <a:ext cx="2982191" cy="289112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26579E9F-F0D1-B6F5-46BD-60EC3B756F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873601" y="1275133"/>
              <a:ext cx="1053916" cy="347684"/>
            </a:xfrm>
            <a:prstGeom prst="rect">
              <a:avLst/>
            </a:pr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C5D05521-225B-A1C2-8E2F-1DC3C5A6CC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945529" y="1035049"/>
              <a:ext cx="775854" cy="259748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09F1EED0-B748-731E-3D34-94B80E29E6BA}"/>
                </a:ext>
              </a:extLst>
            </p:cNvPr>
            <p:cNvSpPr txBox="1"/>
            <p:nvPr/>
          </p:nvSpPr>
          <p:spPr>
            <a:xfrm>
              <a:off x="5536199" y="636474"/>
              <a:ext cx="111960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 err="1"/>
                <a:t>ConvNets</a:t>
              </a:r>
              <a:endParaRPr lang="en-US" dirty="0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A71F8693-5D79-4BB1-5F6F-DD2A999ABF5A}"/>
              </a:ext>
            </a:extLst>
          </p:cNvPr>
          <p:cNvSpPr txBox="1"/>
          <p:nvPr/>
        </p:nvSpPr>
        <p:spPr>
          <a:xfrm>
            <a:off x="7101123" y="1494021"/>
            <a:ext cx="2606739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greater model size </a:t>
            </a:r>
          </a:p>
          <a:p>
            <a:r>
              <a:rPr lang="en-US" sz="1600" b="1" dirty="0"/>
              <a:t>⇒ higher accuracy</a:t>
            </a:r>
          </a:p>
          <a:p>
            <a:pPr>
              <a:lnSpc>
                <a:spcPct val="200000"/>
              </a:lnSpc>
            </a:pPr>
            <a:r>
              <a:rPr lang="en-US" sz="1600" dirty="0" err="1"/>
              <a:t>gMLP</a:t>
            </a:r>
            <a:r>
              <a:rPr lang="en-US" sz="1600" dirty="0"/>
              <a:t> as good as Transformer</a:t>
            </a:r>
          </a:p>
          <a:p>
            <a:r>
              <a:rPr lang="en-US" sz="1600" b="1" dirty="0"/>
              <a:t>⇒ No self-attention needed</a:t>
            </a:r>
            <a:r>
              <a:rPr lang="en-US" sz="1600" dirty="0"/>
              <a:t>.</a:t>
            </a:r>
          </a:p>
          <a:p>
            <a:endParaRPr lang="en-US" sz="1600" dirty="0"/>
          </a:p>
          <a:p>
            <a:r>
              <a:rPr lang="en-US" sz="1600" dirty="0" err="1"/>
              <a:t>gMLP</a:t>
            </a:r>
            <a:r>
              <a:rPr lang="en-US" sz="1600" dirty="0"/>
              <a:t> best among MLPs</a:t>
            </a:r>
          </a:p>
          <a:p>
            <a:endParaRPr lang="en-US" sz="1600" dirty="0"/>
          </a:p>
          <a:p>
            <a:r>
              <a:rPr lang="en-US" sz="1600" i="1" dirty="0"/>
              <a:t>But</a:t>
            </a:r>
            <a:r>
              <a:rPr lang="en-US" sz="1600" dirty="0"/>
              <a:t> </a:t>
            </a:r>
            <a:r>
              <a:rPr lang="en-US" sz="1600" b="1" i="1" dirty="0" err="1"/>
              <a:t>ConvNets</a:t>
            </a:r>
            <a:r>
              <a:rPr lang="en-US" sz="1600" b="1" i="1" dirty="0"/>
              <a:t> </a:t>
            </a:r>
            <a:r>
              <a:rPr lang="en-US" sz="1600" i="1" dirty="0"/>
              <a:t>are</a:t>
            </a:r>
            <a:r>
              <a:rPr lang="en-US" sz="1600" b="1" i="1" dirty="0"/>
              <a:t> better!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249993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3" grpId="1" animBg="1"/>
      <p:bldP spid="34" grpId="0" animBg="1"/>
      <p:bldP spid="34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9F79BA4-2D44-BEBC-3B75-03CFDCD6207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9919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BA660D-CD6F-7894-F597-C08273951CB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US" dirty="0"/>
              <a:t>NLP task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B6E7F1D-C163-5F41-716A-6BCC86E4EDB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CFD6F4-35EB-251B-7C38-24F9A472D8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590046-DA73-4BBF-84B5-C08E6F75191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97430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ornVTI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Bembo">
      <a:majorFont>
        <a:latin typeface="Bembo"/>
        <a:ea typeface=""/>
        <a:cs typeface=""/>
      </a:majorFont>
      <a:minorFont>
        <a:latin typeface="Bemb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dornVTI" id="{497E3FA9-5A27-4D12-9D04-917BEF3D1303}" vid="{34192A01-61CA-4566-9818-841C607496F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985</TotalTime>
  <Words>985</Words>
  <Application>Microsoft Macintosh PowerPoint</Application>
  <PresentationFormat>Widescreen</PresentationFormat>
  <Paragraphs>236</Paragraphs>
  <Slides>2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4" baseType="lpstr">
      <vt:lpstr>Söhne</vt:lpstr>
      <vt:lpstr>Aptos</vt:lpstr>
      <vt:lpstr>Arial</vt:lpstr>
      <vt:lpstr>Bembo</vt:lpstr>
      <vt:lpstr>Cambria Math</vt:lpstr>
      <vt:lpstr>Symbol</vt:lpstr>
      <vt:lpstr>AdornVTI</vt:lpstr>
      <vt:lpstr>think-cell Slide</vt:lpstr>
      <vt:lpstr>Pay attention  to mlps!</vt:lpstr>
      <vt:lpstr>PowerPoint Presentation</vt:lpstr>
      <vt:lpstr>About the paper</vt:lpstr>
      <vt:lpstr>Gated Multi-Layer Perceptron (gMLP)</vt:lpstr>
      <vt:lpstr>Gaussian Error Linear Unit (GELU)</vt:lpstr>
      <vt:lpstr>Image classification</vt:lpstr>
      <vt:lpstr>Setup</vt:lpstr>
      <vt:lpstr>Results</vt:lpstr>
      <vt:lpstr>NLP tasks</vt:lpstr>
      <vt:lpstr>Setup</vt:lpstr>
      <vt:lpstr>Ablation study</vt:lpstr>
      <vt:lpstr>Ablation study Results</vt:lpstr>
      <vt:lpstr>Finetuning Results</vt:lpstr>
      <vt:lpstr>Tiny Attention</vt:lpstr>
      <vt:lpstr>Finetuning Results Again…</vt:lpstr>
      <vt:lpstr>Main results</vt:lpstr>
      <vt:lpstr>Related work</vt:lpstr>
      <vt:lpstr>How did I like the paper?</vt:lpstr>
      <vt:lpstr>Summary</vt:lpstr>
      <vt:lpstr>Thank you!!!</vt:lpstr>
      <vt:lpstr>SST-2</vt:lpstr>
      <vt:lpstr>MNLI-m</vt:lpstr>
      <vt:lpstr>SQuAD</vt:lpstr>
      <vt:lpstr>Finetuning results </vt:lpstr>
      <vt:lpstr>gMLP specification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ay attention  to mlps!</dc:title>
  <dc:creator>Tran  Sascha</dc:creator>
  <cp:lastModifiedBy>Tran  Sascha</cp:lastModifiedBy>
  <cp:revision>25</cp:revision>
  <dcterms:created xsi:type="dcterms:W3CDTF">2024-03-30T12:31:20Z</dcterms:created>
  <dcterms:modified xsi:type="dcterms:W3CDTF">2024-05-15T19:48:53Z</dcterms:modified>
</cp:coreProperties>
</file>